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mp4" ContentType="video/unknown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3648" r:id="rId13"/>
  </p:sldMasterIdLst>
  <p:notesMasterIdLst>
    <p:notesMasterId r:id="rId31"/>
  </p:notesMasterIdLst>
  <p:sldIdLst>
    <p:sldId id="2147471645" r:id="rId14"/>
    <p:sldId id="432" r:id="rId15"/>
    <p:sldId id="433" r:id="rId16"/>
    <p:sldId id="2147471643" r:id="rId17"/>
    <p:sldId id="534" r:id="rId18"/>
    <p:sldId id="533" r:id="rId19"/>
    <p:sldId id="2147471962" r:id="rId20"/>
    <p:sldId id="2134959478" r:id="rId21"/>
    <p:sldId id="2134959479" r:id="rId22"/>
    <p:sldId id="2147469861" r:id="rId23"/>
    <p:sldId id="2147469658" r:id="rId24"/>
    <p:sldId id="2147469660" r:id="rId25"/>
    <p:sldId id="2147469860" r:id="rId26"/>
    <p:sldId id="2134959480" r:id="rId27"/>
    <p:sldId id="2134959482" r:id="rId28"/>
    <p:sldId id="2134959483" r:id="rId29"/>
    <p:sldId id="356" r:id="rId3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  <p:ext uri="{2D200454-40CA-4A62-9FC3-DE9A4176ACB9}">
      <p15:notes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BB5B2"/>
    <a:srgbClr val="7887A8"/>
    <a:srgbClr val="7CA4A2"/>
    <a:srgbClr val="2F8C16"/>
    <a:srgbClr val="093FB4"/>
    <a:srgbClr val="FF820A"/>
    <a:srgbClr val="FFB500"/>
    <a:srgbClr val="B378F4"/>
    <a:srgbClr val="80C4FF"/>
    <a:srgbClr val="3F3B3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xmlns="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F4C15EB-ECC0-4D5C-B70B-4D47581A1336}" v="3" dt="2023-10-27T10:06:34.242"/>
  </p1510:revLst>
</p1510:revInfo>
</file>

<file path=ppt/tableStyles.xml><?xml version="1.0" encoding="utf-8"?>
<a:tblStyleLst xmlns:a="http://schemas.openxmlformats.org/drawingml/2006/main" def="{5C22544A-7EE6-4342-B048-85BDC9FD1C3A}">
  <a:tblStyle styleId="{0817EA92-75D0-4044-A80A-286907CE0DDB}" styleName="Custom Table Style">
    <a:wholeTbl>
      <a:tcTxStyle>
        <a:fontRef idx="minor">
          <a:prstClr val="black"/>
        </a:fontRef>
        <a:schemeClr val="dk1"/>
      </a:tcTxStyle>
      <a:tcStyle>
        <a:tcBdr>
          <a:left>
            <a:ln w="0" cmpd="sng">
              <a:solidFill>
                <a:schemeClr val="bg1"/>
              </a:solidFill>
            </a:ln>
          </a:left>
          <a:right>
            <a:ln w="0" cmpd="sng">
              <a:solidFill>
                <a:schemeClr val="bg1"/>
              </a:solidFill>
            </a:ln>
          </a:right>
          <a:top>
            <a:ln w="28575" cmpd="sng">
              <a:solidFill>
                <a:schemeClr val="dk1"/>
              </a:solidFill>
            </a:ln>
          </a:top>
          <a:bottom>
            <a:ln w="0" cmpd="sng">
              <a:solidFill>
                <a:schemeClr val="bg1"/>
              </a:solidFill>
            </a:ln>
          </a:bottom>
          <a:insideH>
            <a:ln w="0" cmpd="sng">
              <a:solidFill>
                <a:schemeClr val="bg1"/>
              </a:solidFill>
            </a:ln>
          </a:insideH>
          <a:insideV>
            <a:ln w="0" cmpd="sng">
              <a:solidFill>
                <a:schemeClr val="bg1"/>
              </a:solidFill>
            </a:ln>
          </a:insideV>
        </a:tcBdr>
        <a:fill>
          <a:solidFill>
            <a:srgbClr val="FFFFFF"/>
          </a:solidFill>
        </a:fill>
      </a:tcStyle>
    </a:wholeTbl>
    <a:band1H>
      <a:tcStyle>
        <a:tcBdr/>
        <a:fill>
          <a:solidFill>
            <a:schemeClr val="accent6"/>
          </a:solidFill>
        </a:fill>
      </a:tcStyle>
    </a:band1H>
    <a:band2H>
      <a:tcStyle>
        <a:tcBdr/>
      </a:tcStyle>
    </a:band2H>
    <a:band1V>
      <a:tcStyle>
        <a:tcBdr/>
        <a:fill>
          <a:solidFill>
            <a:srgbClr val="FFFFFF"/>
          </a:solidFill>
        </a:fill>
      </a:tcStyle>
    </a:band1V>
    <a:band2V>
      <a:tcStyle>
        <a:tcBdr/>
      </a:tcStyle>
    </a:band2V>
    <a:lastCol>
      <a:tcTxStyle>
        <a:fontRef idx="minor">
          <a:prstClr val="black"/>
        </a:fontRef>
        <a:schemeClr val="dk1"/>
      </a:tcTxStyle>
      <a:tcStyle>
        <a:tcBdr/>
        <a:fill>
          <a:solidFill>
            <a:srgbClr val="FFFFFF"/>
          </a:solidFill>
        </a:fill>
      </a:tcStyle>
    </a:lastCol>
    <a:firstCol>
      <a:tcTxStyle>
        <a:fontRef idx="minor">
          <a:prstClr val="black"/>
        </a:fontRef>
        <a:schemeClr val="dk1"/>
      </a:tcTxStyle>
      <a:tcStyle>
        <a:tcBdr/>
        <a:fill>
          <a:solidFill>
            <a:srgbClr val="FFFFFF"/>
          </a:solidFill>
        </a:fill>
      </a:tcStyle>
    </a:firstCol>
    <a:lastRow>
      <a:tcTxStyle>
        <a:fontRef idx="minor">
          <a:prstClr val="black"/>
        </a:fontRef>
        <a:schemeClr val="dk1"/>
      </a:tcTxStyle>
      <a:tcStyle>
        <a:tcBdr>
          <a:top>
            <a:ln w="0" cmpd="sng">
              <a:solidFill>
                <a:schemeClr val="lt1"/>
              </a:solidFill>
            </a:ln>
          </a:top>
        </a:tcBdr>
        <a:fill>
          <a:solidFill>
            <a:srgbClr val="FFFFFF"/>
          </a:solidFill>
        </a:fill>
      </a:tcStyle>
    </a:lastRow>
    <a:firstRow>
      <a:tcTxStyle>
        <a:fontRef idx="minor">
          <a:prstClr val="black"/>
        </a:fontRef>
        <a:schemeClr val="dk1"/>
      </a:tcTxStyle>
      <a:tcStyle>
        <a:tcBdr>
          <a:bottom>
            <a:ln w="0" cmpd="sng">
              <a:solidFill>
                <a:schemeClr val="lt1"/>
              </a:solidFill>
            </a:ln>
          </a:bottom>
        </a:tcBdr>
        <a:fill>
          <a:solidFill>
            <a:schemeClr val="lt1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098" autoAdjust="0"/>
    <p:restoredTop sz="95699" autoAdjust="0"/>
  </p:normalViewPr>
  <p:slideViewPr>
    <p:cSldViewPr snapToGrid="0" showGuides="1">
      <p:cViewPr>
        <p:scale>
          <a:sx n="80" d="100"/>
          <a:sy n="80" d="100"/>
        </p:scale>
        <p:origin x="-780" y="-36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notesViewPr>
    <p:cSldViewPr snapToGrid="0">
      <p:cViewPr varScale="1">
        <p:scale>
          <a:sx n="75" d="100"/>
          <a:sy n="75" d="100"/>
        </p:scale>
        <p:origin x="2938" y="4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.xml"/><Relationship Id="rId18" Type="http://schemas.openxmlformats.org/officeDocument/2006/relationships/slide" Target="slides/slide5.xml"/><Relationship Id="rId26" Type="http://schemas.openxmlformats.org/officeDocument/2006/relationships/slide" Target="slides/slide13.xml"/><Relationship Id="rId3" Type="http://schemas.openxmlformats.org/officeDocument/2006/relationships/customXml" Target="../customXml/item3.xml"/><Relationship Id="rId21" Type="http://schemas.openxmlformats.org/officeDocument/2006/relationships/slide" Target="slides/slide8.xml"/><Relationship Id="rId34" Type="http://schemas.openxmlformats.org/officeDocument/2006/relationships/theme" Target="theme/theme1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slide" Target="slides/slide4.xml"/><Relationship Id="rId25" Type="http://schemas.openxmlformats.org/officeDocument/2006/relationships/slide" Target="slides/slide12.xml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3.xml"/><Relationship Id="rId20" Type="http://schemas.openxmlformats.org/officeDocument/2006/relationships/slide" Target="slides/slide7.xml"/><Relationship Id="rId29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slide" Target="slides/slide11.xml"/><Relationship Id="rId32" Type="http://schemas.openxmlformats.org/officeDocument/2006/relationships/presProps" Target="presProps.xml"/><Relationship Id="rId5" Type="http://schemas.openxmlformats.org/officeDocument/2006/relationships/customXml" Target="../customXml/item5.xml"/><Relationship Id="rId15" Type="http://schemas.openxmlformats.org/officeDocument/2006/relationships/slide" Target="slides/slide2.xml"/><Relationship Id="rId23" Type="http://schemas.openxmlformats.org/officeDocument/2006/relationships/slide" Target="slides/slide10.xml"/><Relationship Id="rId28" Type="http://schemas.openxmlformats.org/officeDocument/2006/relationships/slide" Target="slides/slide15.xml"/><Relationship Id="rId36" Type="http://schemas.microsoft.com/office/2015/10/relationships/revisionInfo" Target="revisionInfo.xml"/><Relationship Id="rId10" Type="http://schemas.openxmlformats.org/officeDocument/2006/relationships/customXml" Target="../customXml/item10.xml"/><Relationship Id="rId19" Type="http://schemas.openxmlformats.org/officeDocument/2006/relationships/slide" Target="slides/slide6.xml"/><Relationship Id="rId31" Type="http://schemas.openxmlformats.org/officeDocument/2006/relationships/notesMaster" Target="notesMasters/notesMaster1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slide" Target="slides/slide1.xml"/><Relationship Id="rId22" Type="http://schemas.openxmlformats.org/officeDocument/2006/relationships/slide" Target="slides/slide9.xml"/><Relationship Id="rId27" Type="http://schemas.openxmlformats.org/officeDocument/2006/relationships/slide" Target="slides/slide14.xml"/><Relationship Id="rId30" Type="http://schemas.openxmlformats.org/officeDocument/2006/relationships/slide" Target="slides/slide17.xml"/><Relationship Id="rId35" Type="http://schemas.openxmlformats.org/officeDocument/2006/relationships/tableStyles" Target="tableStyles.xml"/><Relationship Id="rId8" Type="http://schemas.openxmlformats.org/officeDocument/2006/relationships/customXml" Target="../customXml/item8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8A3C172-8945-4189-AABF-306FFB3D052F}" type="datetimeFigureOut">
              <a:rPr lang="en-US" smtClean="0"/>
              <a:t>10/31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C6894C-2343-459D-88D7-5041FE4A84B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976209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b="1" dirty="0"/>
              <a:t>Storage</a:t>
            </a:r>
            <a:r>
              <a:rPr lang="de-DE" dirty="0"/>
              <a:t> allows for a </a:t>
            </a:r>
            <a:r>
              <a:rPr lang="de-DE" b="1" dirty="0"/>
              <a:t>time shift </a:t>
            </a:r>
            <a:r>
              <a:rPr lang="de-DE" dirty="0"/>
              <a:t>between generation and demand </a:t>
            </a:r>
            <a:r>
              <a:rPr lang="de-DE" b="1" dirty="0"/>
              <a:t>within a reg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b="1" dirty="0"/>
              <a:t>Transmission</a:t>
            </a:r>
            <a:r>
              <a:rPr lang="de-DE" dirty="0"/>
              <a:t> allows for a </a:t>
            </a:r>
            <a:r>
              <a:rPr lang="de-DE" b="1" dirty="0"/>
              <a:t>spatial shift </a:t>
            </a:r>
            <a:r>
              <a:rPr lang="de-DE" dirty="0"/>
              <a:t>between generation and demand </a:t>
            </a:r>
            <a:r>
              <a:rPr lang="de-DE" b="1" dirty="0"/>
              <a:t>between region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/>
              <a:t>As generation becomes more volatile with the integration of more renewables, </a:t>
            </a:r>
            <a:r>
              <a:rPr lang="de-DE" b="1" dirty="0"/>
              <a:t>both solutions are needed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C6894C-2343-459D-88D7-5041FE4A84B3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96169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C6894C-2343-459D-88D7-5041FE4A84B3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882485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C6894C-2343-459D-88D7-5041FE4A84B3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955578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C6894C-2343-459D-88D7-5041FE4A84B3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746922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7C94B5E-74C5-E447-A14F-9FE7D0067B9E}" type="slidenum">
              <a:rPr lang="uk-UA" smtClean="0"/>
              <a:t>11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68394366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7C94B5E-74C5-E447-A14F-9FE7D0067B9E}" type="slidenum">
              <a:rPr lang="uk-UA" smtClean="0"/>
              <a:t>12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68394366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7C94B5E-74C5-E447-A14F-9FE7D0067B9E}" type="slidenum">
              <a:rPr lang="uk-UA" smtClean="0"/>
              <a:t>13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74598500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BC6894C-2343-459D-88D7-5041FE4A84B3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38363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image" Target="../media/image4.png"/><Relationship Id="rId7" Type="http://schemas.openxmlformats.org/officeDocument/2006/relationships/image" Target="../media/image6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svg"/><Relationship Id="rId11" Type="http://schemas.openxmlformats.org/officeDocument/2006/relationships/image" Target="../media/image8.emf"/><Relationship Id="rId5" Type="http://schemas.openxmlformats.org/officeDocument/2006/relationships/image" Target="../media/image5.png"/><Relationship Id="rId10" Type="http://schemas.openxmlformats.org/officeDocument/2006/relationships/image" Target="../media/image11.svg"/><Relationship Id="rId4" Type="http://schemas.openxmlformats.org/officeDocument/2006/relationships/image" Target="../media/image5.svg"/><Relationship Id="rId9" Type="http://schemas.openxmlformats.org/officeDocument/2006/relationships/image" Target="../media/image7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image" Target="../media/image4.png"/><Relationship Id="rId7" Type="http://schemas.openxmlformats.org/officeDocument/2006/relationships/image" Target="../media/image6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svg"/><Relationship Id="rId11" Type="http://schemas.openxmlformats.org/officeDocument/2006/relationships/image" Target="../media/image8.emf"/><Relationship Id="rId5" Type="http://schemas.openxmlformats.org/officeDocument/2006/relationships/image" Target="../media/image5.png"/><Relationship Id="rId10" Type="http://schemas.openxmlformats.org/officeDocument/2006/relationships/image" Target="../media/image11.svg"/><Relationship Id="rId4" Type="http://schemas.openxmlformats.org/officeDocument/2006/relationships/image" Target="../media/image5.svg"/><Relationship Id="rId9" Type="http://schemas.openxmlformats.org/officeDocument/2006/relationships/image" Target="../media/image7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image" Target="../media/image4.png"/><Relationship Id="rId7" Type="http://schemas.openxmlformats.org/officeDocument/2006/relationships/image" Target="../media/image6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svg"/><Relationship Id="rId11" Type="http://schemas.openxmlformats.org/officeDocument/2006/relationships/image" Target="../media/image8.emf"/><Relationship Id="rId5" Type="http://schemas.openxmlformats.org/officeDocument/2006/relationships/image" Target="../media/image5.png"/><Relationship Id="rId10" Type="http://schemas.openxmlformats.org/officeDocument/2006/relationships/image" Target="../media/image11.svg"/><Relationship Id="rId4" Type="http://schemas.openxmlformats.org/officeDocument/2006/relationships/image" Target="../media/image5.svg"/><Relationship Id="rId9" Type="http://schemas.openxmlformats.org/officeDocument/2006/relationships/image" Target="../media/image7.pn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8.emf"/><Relationship Id="rId7" Type="http://schemas.openxmlformats.org/officeDocument/2006/relationships/image" Target="../media/image7.sv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11" Type="http://schemas.openxmlformats.org/officeDocument/2006/relationships/image" Target="../media/image11.svg"/><Relationship Id="rId5" Type="http://schemas.openxmlformats.org/officeDocument/2006/relationships/image" Target="../media/image5.svg"/><Relationship Id="rId10" Type="http://schemas.openxmlformats.org/officeDocument/2006/relationships/image" Target="../media/image7.png"/><Relationship Id="rId4" Type="http://schemas.openxmlformats.org/officeDocument/2006/relationships/image" Target="../media/image4.png"/><Relationship Id="rId9" Type="http://schemas.openxmlformats.org/officeDocument/2006/relationships/image" Target="../media/image9.svg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emf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2.png"/><Relationship Id="rId7" Type="http://schemas.openxmlformats.org/officeDocument/2006/relationships/image" Target="../media/image16.png"/><Relationship Id="rId12" Type="http://schemas.openxmlformats.org/officeDocument/2006/relationships/image" Target="../media/image21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5.png"/><Relationship Id="rId11" Type="http://schemas.openxmlformats.org/officeDocument/2006/relationships/image" Target="../media/image20.png"/><Relationship Id="rId5" Type="http://schemas.openxmlformats.org/officeDocument/2006/relationships/image" Target="../media/image14.png"/><Relationship Id="rId10" Type="http://schemas.openxmlformats.org/officeDocument/2006/relationships/image" Target="../media/image19.png"/><Relationship Id="rId4" Type="http://schemas.openxmlformats.org/officeDocument/2006/relationships/image" Target="../media/image13.png"/><Relationship Id="rId9" Type="http://schemas.openxmlformats.org/officeDocument/2006/relationships/image" Target="../media/image18.png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5.svg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 - Brighter Picture 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xmlns="" id="{7F863E3D-E8C6-4587-A9FE-547D1D37E58C}"/>
              </a:ext>
            </a:extLst>
          </p:cNvPr>
          <p:cNvSpPr/>
          <p:nvPr userDrawn="1"/>
        </p:nvSpPr>
        <p:spPr>
          <a:xfrm>
            <a:off x="9099329" y="344152"/>
            <a:ext cx="2830711" cy="1032211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GB" sz="1400" dirty="0" err="1">
              <a:solidFill>
                <a:schemeClr val="tx1"/>
              </a:solidFill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xmlns="" id="{EB87F6C0-6A0D-49A9-B92D-47AC66E82F62}"/>
              </a:ext>
            </a:extLst>
          </p:cNvPr>
          <p:cNvSpPr/>
          <p:nvPr userDrawn="1"/>
        </p:nvSpPr>
        <p:spPr>
          <a:xfrm rot="20700000">
            <a:off x="11630945" y="891479"/>
            <a:ext cx="125787" cy="6268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GB" sz="1400" dirty="0" err="1">
              <a:solidFill>
                <a:schemeClr val="tx1"/>
              </a:solidFill>
            </a:endParaRPr>
          </a:p>
        </p:txBody>
      </p:sp>
      <p:sp>
        <p:nvSpPr>
          <p:cNvPr id="48" name="Picture Placeholder 47">
            <a:extLst>
              <a:ext uri="{FF2B5EF4-FFF2-40B4-BE49-F238E27FC236}">
                <a16:creationId xmlns:a16="http://schemas.microsoft.com/office/drawing/2014/main" xmlns="" id="{7B060B46-A36B-42A8-BC2B-4D51C11E5CF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" y="4"/>
            <a:ext cx="12193196" cy="4738686"/>
          </a:xfrm>
          <a:custGeom>
            <a:avLst/>
            <a:gdLst>
              <a:gd name="connsiteX0" fmla="*/ 9943716 w 12193196"/>
              <a:gd name="connsiteY0" fmla="*/ 1018573 h 4738686"/>
              <a:gd name="connsiteX1" fmla="*/ 9943716 w 12193196"/>
              <a:gd name="connsiteY1" fmla="*/ 1018583 h 4738686"/>
              <a:gd name="connsiteX2" fmla="*/ 9972804 w 12193196"/>
              <a:gd name="connsiteY2" fmla="*/ 1068171 h 4738686"/>
              <a:gd name="connsiteX3" fmla="*/ 9944107 w 12193196"/>
              <a:gd name="connsiteY3" fmla="*/ 1122040 h 4738686"/>
              <a:gd name="connsiteX4" fmla="*/ 9914039 w 12193196"/>
              <a:gd name="connsiteY4" fmla="*/ 1079406 h 4738686"/>
              <a:gd name="connsiteX5" fmla="*/ 9914039 w 12193196"/>
              <a:gd name="connsiteY5" fmla="*/ 1067545 h 4738686"/>
              <a:gd name="connsiteX6" fmla="*/ 9943716 w 12193196"/>
              <a:gd name="connsiteY6" fmla="*/ 1018573 h 4738686"/>
              <a:gd name="connsiteX7" fmla="*/ 11408435 w 12193196"/>
              <a:gd name="connsiteY7" fmla="*/ 1012941 h 4738686"/>
              <a:gd name="connsiteX8" fmla="*/ 11434684 w 12193196"/>
              <a:gd name="connsiteY8" fmla="*/ 1041128 h 4738686"/>
              <a:gd name="connsiteX9" fmla="*/ 11379836 w 12193196"/>
              <a:gd name="connsiteY9" fmla="*/ 1041128 h 4738686"/>
              <a:gd name="connsiteX10" fmla="*/ 11408435 w 12193196"/>
              <a:gd name="connsiteY10" fmla="*/ 1012941 h 4738686"/>
              <a:gd name="connsiteX11" fmla="*/ 10350271 w 12193196"/>
              <a:gd name="connsiteY11" fmla="*/ 1012834 h 4738686"/>
              <a:gd name="connsiteX12" fmla="*/ 10376618 w 12193196"/>
              <a:gd name="connsiteY12" fmla="*/ 1041021 h 4738686"/>
              <a:gd name="connsiteX13" fmla="*/ 10321770 w 12193196"/>
              <a:gd name="connsiteY13" fmla="*/ 1041021 h 4738686"/>
              <a:gd name="connsiteX14" fmla="*/ 10350271 w 12193196"/>
              <a:gd name="connsiteY14" fmla="*/ 1012834 h 4738686"/>
              <a:gd name="connsiteX15" fmla="*/ 10912556 w 12193196"/>
              <a:gd name="connsiteY15" fmla="*/ 1012833 h 4738686"/>
              <a:gd name="connsiteX16" fmla="*/ 10938805 w 12193196"/>
              <a:gd name="connsiteY16" fmla="*/ 1041021 h 4738686"/>
              <a:gd name="connsiteX17" fmla="*/ 10883957 w 12193196"/>
              <a:gd name="connsiteY17" fmla="*/ 1041021 h 4738686"/>
              <a:gd name="connsiteX18" fmla="*/ 10912556 w 12193196"/>
              <a:gd name="connsiteY18" fmla="*/ 1012833 h 4738686"/>
              <a:gd name="connsiteX19" fmla="*/ 11605397 w 12193196"/>
              <a:gd name="connsiteY19" fmla="*/ 1000835 h 4738686"/>
              <a:gd name="connsiteX20" fmla="*/ 11568179 w 12193196"/>
              <a:gd name="connsiteY20" fmla="*/ 1043841 h 4738686"/>
              <a:gd name="connsiteX21" fmla="*/ 11535270 w 12193196"/>
              <a:gd name="connsiteY21" fmla="*/ 1000923 h 4738686"/>
              <a:gd name="connsiteX22" fmla="*/ 11476897 w 12193196"/>
              <a:gd name="connsiteY22" fmla="*/ 1000923 h 4738686"/>
              <a:gd name="connsiteX23" fmla="*/ 11476897 w 12193196"/>
              <a:gd name="connsiteY23" fmla="*/ 1011922 h 4738686"/>
              <a:gd name="connsiteX24" fmla="*/ 11479443 w 12193196"/>
              <a:gd name="connsiteY24" fmla="*/ 1012079 h 4738686"/>
              <a:gd name="connsiteX25" fmla="*/ 11516074 w 12193196"/>
              <a:gd name="connsiteY25" fmla="*/ 1033136 h 4738686"/>
              <a:gd name="connsiteX26" fmla="*/ 11539971 w 12193196"/>
              <a:gd name="connsiteY26" fmla="*/ 1064899 h 4738686"/>
              <a:gd name="connsiteX27" fmla="*/ 11500893 w 12193196"/>
              <a:gd name="connsiteY27" fmla="*/ 1110021 h 4738686"/>
              <a:gd name="connsiteX28" fmla="*/ 11541245 w 12193196"/>
              <a:gd name="connsiteY28" fmla="*/ 1110021 h 4738686"/>
              <a:gd name="connsiteX29" fmla="*/ 11558776 w 12193196"/>
              <a:gd name="connsiteY29" fmla="*/ 1089874 h 4738686"/>
              <a:gd name="connsiteX30" fmla="*/ 11596386 w 12193196"/>
              <a:gd name="connsiteY30" fmla="*/ 1139824 h 4738686"/>
              <a:gd name="connsiteX31" fmla="*/ 11641635 w 12193196"/>
              <a:gd name="connsiteY31" fmla="*/ 1139824 h 4738686"/>
              <a:gd name="connsiteX32" fmla="*/ 11569942 w 12193196"/>
              <a:gd name="connsiteY32" fmla="*/ 1046192 h 4738686"/>
              <a:gd name="connsiteX33" fmla="*/ 11606474 w 12193196"/>
              <a:gd name="connsiteY33" fmla="*/ 1046221 h 4738686"/>
              <a:gd name="connsiteX34" fmla="*/ 11645651 w 12193196"/>
              <a:gd name="connsiteY34" fmla="*/ 1000835 h 4738686"/>
              <a:gd name="connsiteX35" fmla="*/ 11409709 w 12193196"/>
              <a:gd name="connsiteY35" fmla="*/ 997750 h 4738686"/>
              <a:gd name="connsiteX36" fmla="*/ 11338211 w 12193196"/>
              <a:gd name="connsiteY36" fmla="*/ 1065684 h 4738686"/>
              <a:gd name="connsiteX37" fmla="*/ 11421168 w 12193196"/>
              <a:gd name="connsiteY37" fmla="*/ 1143008 h 4738686"/>
              <a:gd name="connsiteX38" fmla="*/ 11467788 w 12193196"/>
              <a:gd name="connsiteY38" fmla="*/ 1135231 h 4738686"/>
              <a:gd name="connsiteX39" fmla="*/ 11470041 w 12193196"/>
              <a:gd name="connsiteY39" fmla="*/ 1134527 h 4738686"/>
              <a:gd name="connsiteX40" fmla="*/ 11470041 w 12193196"/>
              <a:gd name="connsiteY40" fmla="*/ 1116084 h 4738686"/>
              <a:gd name="connsiteX41" fmla="*/ 11466417 w 12193196"/>
              <a:gd name="connsiteY41" fmla="*/ 1117376 h 4738686"/>
              <a:gd name="connsiteX42" fmla="*/ 11436545 w 12193196"/>
              <a:gd name="connsiteY42" fmla="*/ 1122088 h 4738686"/>
              <a:gd name="connsiteX43" fmla="*/ 11379738 w 12193196"/>
              <a:gd name="connsiteY43" fmla="*/ 1058034 h 4738686"/>
              <a:gd name="connsiteX44" fmla="*/ 11472979 w 12193196"/>
              <a:gd name="connsiteY44" fmla="*/ 1058034 h 4738686"/>
              <a:gd name="connsiteX45" fmla="*/ 11472979 w 12193196"/>
              <a:gd name="connsiteY45" fmla="*/ 1055330 h 4738686"/>
              <a:gd name="connsiteX46" fmla="*/ 11409709 w 12193196"/>
              <a:gd name="connsiteY46" fmla="*/ 997750 h 4738686"/>
              <a:gd name="connsiteX47" fmla="*/ 9781426 w 12193196"/>
              <a:gd name="connsiteY47" fmla="*/ 997723 h 4738686"/>
              <a:gd name="connsiteX48" fmla="*/ 9724032 w 12193196"/>
              <a:gd name="connsiteY48" fmla="*/ 1038926 h 4738686"/>
              <a:gd name="connsiteX49" fmla="*/ 9765951 w 12193196"/>
              <a:gd name="connsiteY49" fmla="*/ 1082648 h 4738686"/>
              <a:gd name="connsiteX50" fmla="*/ 9795725 w 12193196"/>
              <a:gd name="connsiteY50" fmla="*/ 1108378 h 4738686"/>
              <a:gd name="connsiteX51" fmla="*/ 9770261 w 12193196"/>
              <a:gd name="connsiteY51" fmla="*/ 1124901 h 4738686"/>
              <a:gd name="connsiteX52" fmla="*/ 9728439 w 12193196"/>
              <a:gd name="connsiteY52" fmla="*/ 1110376 h 4738686"/>
              <a:gd name="connsiteX53" fmla="*/ 9724326 w 12193196"/>
              <a:gd name="connsiteY53" fmla="*/ 1107888 h 4738686"/>
              <a:gd name="connsiteX54" fmla="*/ 9724326 w 12193196"/>
              <a:gd name="connsiteY54" fmla="*/ 1137271 h 4738686"/>
              <a:gd name="connsiteX55" fmla="*/ 9727166 w 12193196"/>
              <a:gd name="connsiteY55" fmla="*/ 1137888 h 4738686"/>
              <a:gd name="connsiteX56" fmla="*/ 9768987 w 12193196"/>
              <a:gd name="connsiteY56" fmla="*/ 1142971 h 4738686"/>
              <a:gd name="connsiteX57" fmla="*/ 9830593 w 12193196"/>
              <a:gd name="connsiteY57" fmla="*/ 1100631 h 4738686"/>
              <a:gd name="connsiteX58" fmla="*/ 9786911 w 12193196"/>
              <a:gd name="connsiteY58" fmla="*/ 1052913 h 4738686"/>
              <a:gd name="connsiteX59" fmla="*/ 9786911 w 12193196"/>
              <a:gd name="connsiteY59" fmla="*/ 1052884 h 4738686"/>
              <a:gd name="connsiteX60" fmla="*/ 9758899 w 12193196"/>
              <a:gd name="connsiteY60" fmla="*/ 1028779 h 4738686"/>
              <a:gd name="connsiteX61" fmla="*/ 9779075 w 12193196"/>
              <a:gd name="connsiteY61" fmla="*/ 1015714 h 4738686"/>
              <a:gd name="connsiteX62" fmla="*/ 9814824 w 12193196"/>
              <a:gd name="connsiteY62" fmla="*/ 1028006 h 4738686"/>
              <a:gd name="connsiteX63" fmla="*/ 9820799 w 12193196"/>
              <a:gd name="connsiteY63" fmla="*/ 1031649 h 4738686"/>
              <a:gd name="connsiteX64" fmla="*/ 9820799 w 12193196"/>
              <a:gd name="connsiteY64" fmla="*/ 1003079 h 4738686"/>
              <a:gd name="connsiteX65" fmla="*/ 9816097 w 12193196"/>
              <a:gd name="connsiteY65" fmla="*/ 1002101 h 4738686"/>
              <a:gd name="connsiteX66" fmla="*/ 9781426 w 12193196"/>
              <a:gd name="connsiteY66" fmla="*/ 997723 h 4738686"/>
              <a:gd name="connsiteX67" fmla="*/ 10913830 w 12193196"/>
              <a:gd name="connsiteY67" fmla="*/ 997682 h 4738686"/>
              <a:gd name="connsiteX68" fmla="*/ 10842430 w 12193196"/>
              <a:gd name="connsiteY68" fmla="*/ 1065566 h 4738686"/>
              <a:gd name="connsiteX69" fmla="*/ 10925289 w 12193196"/>
              <a:gd name="connsiteY69" fmla="*/ 1142940 h 4738686"/>
              <a:gd name="connsiteX70" fmla="*/ 10971909 w 12193196"/>
              <a:gd name="connsiteY70" fmla="*/ 1135104 h 4738686"/>
              <a:gd name="connsiteX71" fmla="*/ 10974162 w 12193196"/>
              <a:gd name="connsiteY71" fmla="*/ 1134399 h 4738686"/>
              <a:gd name="connsiteX72" fmla="*/ 10974162 w 12193196"/>
              <a:gd name="connsiteY72" fmla="*/ 1115976 h 4738686"/>
              <a:gd name="connsiteX73" fmla="*/ 10970538 w 12193196"/>
              <a:gd name="connsiteY73" fmla="*/ 1117289 h 4738686"/>
              <a:gd name="connsiteX74" fmla="*/ 10940666 w 12193196"/>
              <a:gd name="connsiteY74" fmla="*/ 1122000 h 4738686"/>
              <a:gd name="connsiteX75" fmla="*/ 10883957 w 12193196"/>
              <a:gd name="connsiteY75" fmla="*/ 1057926 h 4738686"/>
              <a:gd name="connsiteX76" fmla="*/ 10977100 w 12193196"/>
              <a:gd name="connsiteY76" fmla="*/ 1057926 h 4738686"/>
              <a:gd name="connsiteX77" fmla="*/ 10977100 w 12193196"/>
              <a:gd name="connsiteY77" fmla="*/ 1055242 h 4738686"/>
              <a:gd name="connsiteX78" fmla="*/ 10913830 w 12193196"/>
              <a:gd name="connsiteY78" fmla="*/ 997682 h 4738686"/>
              <a:gd name="connsiteX79" fmla="*/ 10351643 w 12193196"/>
              <a:gd name="connsiteY79" fmla="*/ 997682 h 4738686"/>
              <a:gd name="connsiteX80" fmla="*/ 10280145 w 12193196"/>
              <a:gd name="connsiteY80" fmla="*/ 1065566 h 4738686"/>
              <a:gd name="connsiteX81" fmla="*/ 10363102 w 12193196"/>
              <a:gd name="connsiteY81" fmla="*/ 1142940 h 4738686"/>
              <a:gd name="connsiteX82" fmla="*/ 10409722 w 12193196"/>
              <a:gd name="connsiteY82" fmla="*/ 1135104 h 4738686"/>
              <a:gd name="connsiteX83" fmla="*/ 10411975 w 12193196"/>
              <a:gd name="connsiteY83" fmla="*/ 1134399 h 4738686"/>
              <a:gd name="connsiteX84" fmla="*/ 10411975 w 12193196"/>
              <a:gd name="connsiteY84" fmla="*/ 1115976 h 4738686"/>
              <a:gd name="connsiteX85" fmla="*/ 10408351 w 12193196"/>
              <a:gd name="connsiteY85" fmla="*/ 1117289 h 4738686"/>
              <a:gd name="connsiteX86" fmla="*/ 10378479 w 12193196"/>
              <a:gd name="connsiteY86" fmla="*/ 1122000 h 4738686"/>
              <a:gd name="connsiteX87" fmla="*/ 10321672 w 12193196"/>
              <a:gd name="connsiteY87" fmla="*/ 1057926 h 4738686"/>
              <a:gd name="connsiteX88" fmla="*/ 10414913 w 12193196"/>
              <a:gd name="connsiteY88" fmla="*/ 1057926 h 4738686"/>
              <a:gd name="connsiteX89" fmla="*/ 10414913 w 12193196"/>
              <a:gd name="connsiteY89" fmla="*/ 1055242 h 4738686"/>
              <a:gd name="connsiteX90" fmla="*/ 10351643 w 12193196"/>
              <a:gd name="connsiteY90" fmla="*/ 997682 h 4738686"/>
              <a:gd name="connsiteX91" fmla="*/ 10104241 w 12193196"/>
              <a:gd name="connsiteY91" fmla="*/ 997212 h 4738686"/>
              <a:gd name="connsiteX92" fmla="*/ 10101107 w 12193196"/>
              <a:gd name="connsiteY92" fmla="*/ 997702 h 4738686"/>
              <a:gd name="connsiteX93" fmla="*/ 10040873 w 12193196"/>
              <a:gd name="connsiteY93" fmla="*/ 1007280 h 4738686"/>
              <a:gd name="connsiteX94" fmla="*/ 10040873 w 12193196"/>
              <a:gd name="connsiteY94" fmla="*/ 1017937 h 4738686"/>
              <a:gd name="connsiteX95" fmla="*/ 10043517 w 12193196"/>
              <a:gd name="connsiteY95" fmla="*/ 1018005 h 4738686"/>
              <a:gd name="connsiteX96" fmla="*/ 10066142 w 12193196"/>
              <a:gd name="connsiteY96" fmla="*/ 1040865 h 4738686"/>
              <a:gd name="connsiteX97" fmla="*/ 10066142 w 12193196"/>
              <a:gd name="connsiteY97" fmla="*/ 1139787 h 4738686"/>
              <a:gd name="connsiteX98" fmla="*/ 10104241 w 12193196"/>
              <a:gd name="connsiteY98" fmla="*/ 1139787 h 4738686"/>
              <a:gd name="connsiteX99" fmla="*/ 9914333 w 12193196"/>
              <a:gd name="connsiteY99" fmla="*/ 997212 h 4738686"/>
              <a:gd name="connsiteX100" fmla="*/ 9911199 w 12193196"/>
              <a:gd name="connsiteY100" fmla="*/ 997703 h 4738686"/>
              <a:gd name="connsiteX101" fmla="*/ 9850377 w 12193196"/>
              <a:gd name="connsiteY101" fmla="*/ 1007280 h 4738686"/>
              <a:gd name="connsiteX102" fmla="*/ 9850377 w 12193196"/>
              <a:gd name="connsiteY102" fmla="*/ 1017937 h 4738686"/>
              <a:gd name="connsiteX103" fmla="*/ 9853021 w 12193196"/>
              <a:gd name="connsiteY103" fmla="*/ 1018005 h 4738686"/>
              <a:gd name="connsiteX104" fmla="*/ 9875940 w 12193196"/>
              <a:gd name="connsiteY104" fmla="*/ 1040865 h 4738686"/>
              <a:gd name="connsiteX105" fmla="*/ 9875940 w 12193196"/>
              <a:gd name="connsiteY105" fmla="*/ 1198327 h 4738686"/>
              <a:gd name="connsiteX106" fmla="*/ 9914039 w 12193196"/>
              <a:gd name="connsiteY106" fmla="*/ 1198327 h 4738686"/>
              <a:gd name="connsiteX107" fmla="*/ 9914039 w 12193196"/>
              <a:gd name="connsiteY107" fmla="*/ 1126594 h 4738686"/>
              <a:gd name="connsiteX108" fmla="*/ 9953216 w 12193196"/>
              <a:gd name="connsiteY108" fmla="*/ 1142940 h 4738686"/>
              <a:gd name="connsiteX109" fmla="*/ 10014234 w 12193196"/>
              <a:gd name="connsiteY109" fmla="*/ 1068171 h 4738686"/>
              <a:gd name="connsiteX110" fmla="*/ 9954587 w 12193196"/>
              <a:gd name="connsiteY110" fmla="*/ 997654 h 4738686"/>
              <a:gd name="connsiteX111" fmla="*/ 9954587 w 12193196"/>
              <a:gd name="connsiteY111" fmla="*/ 997682 h 4738686"/>
              <a:gd name="connsiteX112" fmla="*/ 9914333 w 12193196"/>
              <a:gd name="connsiteY112" fmla="*/ 1017339 h 4738686"/>
              <a:gd name="connsiteX113" fmla="*/ 9585052 w 12193196"/>
              <a:gd name="connsiteY113" fmla="*/ 997212 h 4738686"/>
              <a:gd name="connsiteX114" fmla="*/ 9581918 w 12193196"/>
              <a:gd name="connsiteY114" fmla="*/ 997703 h 4738686"/>
              <a:gd name="connsiteX115" fmla="*/ 9520704 w 12193196"/>
              <a:gd name="connsiteY115" fmla="*/ 1007280 h 4738686"/>
              <a:gd name="connsiteX116" fmla="*/ 9520704 w 12193196"/>
              <a:gd name="connsiteY116" fmla="*/ 1017986 h 4738686"/>
              <a:gd name="connsiteX117" fmla="*/ 9523348 w 12193196"/>
              <a:gd name="connsiteY117" fmla="*/ 1017986 h 4738686"/>
              <a:gd name="connsiteX118" fmla="*/ 9546952 w 12193196"/>
              <a:gd name="connsiteY118" fmla="*/ 1040846 h 4738686"/>
              <a:gd name="connsiteX119" fmla="*/ 9546952 w 12193196"/>
              <a:gd name="connsiteY119" fmla="*/ 1139767 h 4738686"/>
              <a:gd name="connsiteX120" fmla="*/ 9585052 w 12193196"/>
              <a:gd name="connsiteY120" fmla="*/ 1139767 h 4738686"/>
              <a:gd name="connsiteX121" fmla="*/ 9585052 w 12193196"/>
              <a:gd name="connsiteY121" fmla="*/ 1066967 h 4738686"/>
              <a:gd name="connsiteX122" fmla="*/ 9622661 w 12193196"/>
              <a:gd name="connsiteY122" fmla="*/ 1022628 h 4738686"/>
              <a:gd name="connsiteX123" fmla="*/ 9641858 w 12193196"/>
              <a:gd name="connsiteY123" fmla="*/ 1062687 h 4738686"/>
              <a:gd name="connsiteX124" fmla="*/ 9641858 w 12193196"/>
              <a:gd name="connsiteY124" fmla="*/ 1139767 h 4738686"/>
              <a:gd name="connsiteX125" fmla="*/ 9680055 w 12193196"/>
              <a:gd name="connsiteY125" fmla="*/ 1139767 h 4738686"/>
              <a:gd name="connsiteX126" fmla="*/ 9680055 w 12193196"/>
              <a:gd name="connsiteY126" fmla="*/ 1040866 h 4738686"/>
              <a:gd name="connsiteX127" fmla="*/ 9637647 w 12193196"/>
              <a:gd name="connsiteY127" fmla="*/ 997682 h 4738686"/>
              <a:gd name="connsiteX128" fmla="*/ 9585052 w 12193196"/>
              <a:gd name="connsiteY128" fmla="*/ 1028230 h 4738686"/>
              <a:gd name="connsiteX129" fmla="*/ 10204730 w 12193196"/>
              <a:gd name="connsiteY129" fmla="*/ 997212 h 4738686"/>
              <a:gd name="connsiteX130" fmla="*/ 10201596 w 12193196"/>
              <a:gd name="connsiteY130" fmla="*/ 997702 h 4738686"/>
              <a:gd name="connsiteX131" fmla="*/ 10140774 w 12193196"/>
              <a:gd name="connsiteY131" fmla="*/ 1007280 h 4738686"/>
              <a:gd name="connsiteX132" fmla="*/ 10140774 w 12193196"/>
              <a:gd name="connsiteY132" fmla="*/ 1017985 h 4738686"/>
              <a:gd name="connsiteX133" fmla="*/ 10143418 w 12193196"/>
              <a:gd name="connsiteY133" fmla="*/ 1017985 h 4738686"/>
              <a:gd name="connsiteX134" fmla="*/ 10166631 w 12193196"/>
              <a:gd name="connsiteY134" fmla="*/ 1040845 h 4738686"/>
              <a:gd name="connsiteX135" fmla="*/ 10166631 w 12193196"/>
              <a:gd name="connsiteY135" fmla="*/ 1139766 h 4738686"/>
              <a:gd name="connsiteX136" fmla="*/ 10204730 w 12193196"/>
              <a:gd name="connsiteY136" fmla="*/ 1139766 h 4738686"/>
              <a:gd name="connsiteX137" fmla="*/ 10204730 w 12193196"/>
              <a:gd name="connsiteY137" fmla="*/ 1068455 h 4738686"/>
              <a:gd name="connsiteX138" fmla="*/ 10237749 w 12193196"/>
              <a:gd name="connsiteY138" fmla="*/ 1028396 h 4738686"/>
              <a:gd name="connsiteX139" fmla="*/ 10244592 w 12193196"/>
              <a:gd name="connsiteY139" fmla="*/ 1028377 h 4738686"/>
              <a:gd name="connsiteX140" fmla="*/ 10257815 w 12193196"/>
              <a:gd name="connsiteY140" fmla="*/ 1030933 h 4738686"/>
              <a:gd name="connsiteX141" fmla="*/ 10263985 w 12193196"/>
              <a:gd name="connsiteY141" fmla="*/ 1032667 h 4738686"/>
              <a:gd name="connsiteX142" fmla="*/ 10263985 w 12193196"/>
              <a:gd name="connsiteY142" fmla="*/ 1029112 h 4738686"/>
              <a:gd name="connsiteX143" fmla="*/ 10263985 w 12193196"/>
              <a:gd name="connsiteY143" fmla="*/ 999484 h 4738686"/>
              <a:gd name="connsiteX144" fmla="*/ 10261732 w 12193196"/>
              <a:gd name="connsiteY144" fmla="*/ 999141 h 4738686"/>
              <a:gd name="connsiteX145" fmla="*/ 10243613 w 12193196"/>
              <a:gd name="connsiteY145" fmla="*/ 997682 h 4738686"/>
              <a:gd name="connsiteX146" fmla="*/ 10204730 w 12193196"/>
              <a:gd name="connsiteY146" fmla="*/ 1025889 h 4738686"/>
              <a:gd name="connsiteX147" fmla="*/ 10548800 w 12193196"/>
              <a:gd name="connsiteY147" fmla="*/ 957712 h 4738686"/>
              <a:gd name="connsiteX148" fmla="*/ 10548800 w 12193196"/>
              <a:gd name="connsiteY148" fmla="*/ 1000943 h 4738686"/>
              <a:gd name="connsiteX149" fmla="*/ 10523237 w 12193196"/>
              <a:gd name="connsiteY149" fmla="*/ 1000943 h 4738686"/>
              <a:gd name="connsiteX150" fmla="*/ 10523237 w 12193196"/>
              <a:gd name="connsiteY150" fmla="*/ 1017828 h 4738686"/>
              <a:gd name="connsiteX151" fmla="*/ 10548800 w 12193196"/>
              <a:gd name="connsiteY151" fmla="*/ 1017828 h 4738686"/>
              <a:gd name="connsiteX152" fmla="*/ 10548800 w 12193196"/>
              <a:gd name="connsiteY152" fmla="*/ 1103283 h 4738686"/>
              <a:gd name="connsiteX153" fmla="*/ 10601199 w 12193196"/>
              <a:gd name="connsiteY153" fmla="*/ 1143028 h 4738686"/>
              <a:gd name="connsiteX154" fmla="*/ 10623627 w 12193196"/>
              <a:gd name="connsiteY154" fmla="*/ 1140697 h 4738686"/>
              <a:gd name="connsiteX155" fmla="*/ 10625880 w 12193196"/>
              <a:gd name="connsiteY155" fmla="*/ 1140364 h 4738686"/>
              <a:gd name="connsiteX156" fmla="*/ 10625880 w 12193196"/>
              <a:gd name="connsiteY156" fmla="*/ 1123146 h 4738686"/>
              <a:gd name="connsiteX157" fmla="*/ 10622648 w 12193196"/>
              <a:gd name="connsiteY157" fmla="*/ 1123880 h 4738686"/>
              <a:gd name="connsiteX158" fmla="*/ 10611091 w 12193196"/>
              <a:gd name="connsiteY158" fmla="*/ 1124977 h 4738686"/>
              <a:gd name="connsiteX159" fmla="*/ 10586899 w 12193196"/>
              <a:gd name="connsiteY159" fmla="*/ 1098690 h 4738686"/>
              <a:gd name="connsiteX160" fmla="*/ 10586899 w 12193196"/>
              <a:gd name="connsiteY160" fmla="*/ 1017809 h 4738686"/>
              <a:gd name="connsiteX161" fmla="*/ 10629798 w 12193196"/>
              <a:gd name="connsiteY161" fmla="*/ 1017809 h 4738686"/>
              <a:gd name="connsiteX162" fmla="*/ 10629798 w 12193196"/>
              <a:gd name="connsiteY162" fmla="*/ 1000923 h 4738686"/>
              <a:gd name="connsiteX163" fmla="*/ 10586899 w 12193196"/>
              <a:gd name="connsiteY163" fmla="*/ 1000923 h 4738686"/>
              <a:gd name="connsiteX164" fmla="*/ 10586899 w 12193196"/>
              <a:gd name="connsiteY164" fmla="*/ 957712 h 4738686"/>
              <a:gd name="connsiteX165" fmla="*/ 11683359 w 12193196"/>
              <a:gd name="connsiteY165" fmla="*/ 957623 h 4738686"/>
              <a:gd name="connsiteX166" fmla="*/ 11683359 w 12193196"/>
              <a:gd name="connsiteY166" fmla="*/ 1000923 h 4738686"/>
              <a:gd name="connsiteX167" fmla="*/ 11657796 w 12193196"/>
              <a:gd name="connsiteY167" fmla="*/ 1000923 h 4738686"/>
              <a:gd name="connsiteX168" fmla="*/ 11657796 w 12193196"/>
              <a:gd name="connsiteY168" fmla="*/ 1017808 h 4738686"/>
              <a:gd name="connsiteX169" fmla="*/ 11683359 w 12193196"/>
              <a:gd name="connsiteY169" fmla="*/ 1017808 h 4738686"/>
              <a:gd name="connsiteX170" fmla="*/ 11683359 w 12193196"/>
              <a:gd name="connsiteY170" fmla="*/ 1103263 h 4738686"/>
              <a:gd name="connsiteX171" fmla="*/ 11735758 w 12193196"/>
              <a:gd name="connsiteY171" fmla="*/ 1143007 h 4738686"/>
              <a:gd name="connsiteX172" fmla="*/ 11758089 w 12193196"/>
              <a:gd name="connsiteY172" fmla="*/ 1140676 h 4738686"/>
              <a:gd name="connsiteX173" fmla="*/ 11760439 w 12193196"/>
              <a:gd name="connsiteY173" fmla="*/ 1140343 h 4738686"/>
              <a:gd name="connsiteX174" fmla="*/ 11760439 w 12193196"/>
              <a:gd name="connsiteY174" fmla="*/ 1123145 h 4738686"/>
              <a:gd name="connsiteX175" fmla="*/ 11757109 w 12193196"/>
              <a:gd name="connsiteY175" fmla="*/ 1123879 h 4738686"/>
              <a:gd name="connsiteX176" fmla="*/ 11745650 w 12193196"/>
              <a:gd name="connsiteY176" fmla="*/ 1124976 h 4738686"/>
              <a:gd name="connsiteX177" fmla="*/ 11721458 w 12193196"/>
              <a:gd name="connsiteY177" fmla="*/ 1098689 h 4738686"/>
              <a:gd name="connsiteX178" fmla="*/ 11721458 w 12193196"/>
              <a:gd name="connsiteY178" fmla="*/ 1017808 h 4738686"/>
              <a:gd name="connsiteX179" fmla="*/ 11764357 w 12193196"/>
              <a:gd name="connsiteY179" fmla="*/ 1017808 h 4738686"/>
              <a:gd name="connsiteX180" fmla="*/ 11764357 w 12193196"/>
              <a:gd name="connsiteY180" fmla="*/ 1000923 h 4738686"/>
              <a:gd name="connsiteX181" fmla="*/ 11721458 w 12193196"/>
              <a:gd name="connsiteY181" fmla="*/ 1000923 h 4738686"/>
              <a:gd name="connsiteX182" fmla="*/ 11721458 w 12193196"/>
              <a:gd name="connsiteY182" fmla="*/ 957623 h 4738686"/>
              <a:gd name="connsiteX183" fmla="*/ 11073573 w 12193196"/>
              <a:gd name="connsiteY183" fmla="*/ 941062 h 4738686"/>
              <a:gd name="connsiteX184" fmla="*/ 11073573 w 12193196"/>
              <a:gd name="connsiteY184" fmla="*/ 952413 h 4738686"/>
              <a:gd name="connsiteX185" fmla="*/ 11081212 w 12193196"/>
              <a:gd name="connsiteY185" fmla="*/ 953686 h 4738686"/>
              <a:gd name="connsiteX186" fmla="*/ 11106384 w 12193196"/>
              <a:gd name="connsiteY186" fmla="*/ 980541 h 4738686"/>
              <a:gd name="connsiteX187" fmla="*/ 11106384 w 12193196"/>
              <a:gd name="connsiteY187" fmla="*/ 1139765 h 4738686"/>
              <a:gd name="connsiteX188" fmla="*/ 11147323 w 12193196"/>
              <a:gd name="connsiteY188" fmla="*/ 1139765 h 4738686"/>
              <a:gd name="connsiteX189" fmla="*/ 11147323 w 12193196"/>
              <a:gd name="connsiteY189" fmla="*/ 981708 h 4738686"/>
              <a:gd name="connsiteX190" fmla="*/ 11251827 w 12193196"/>
              <a:gd name="connsiteY190" fmla="*/ 1139765 h 4738686"/>
              <a:gd name="connsiteX191" fmla="*/ 11302267 w 12193196"/>
              <a:gd name="connsiteY191" fmla="*/ 1139765 h 4738686"/>
              <a:gd name="connsiteX192" fmla="*/ 11302267 w 12193196"/>
              <a:gd name="connsiteY192" fmla="*/ 941062 h 4738686"/>
              <a:gd name="connsiteX193" fmla="*/ 11299623 w 12193196"/>
              <a:gd name="connsiteY193" fmla="*/ 941062 h 4738686"/>
              <a:gd name="connsiteX194" fmla="*/ 11261328 w 12193196"/>
              <a:gd name="connsiteY194" fmla="*/ 941062 h 4738686"/>
              <a:gd name="connsiteX195" fmla="*/ 11261328 w 12193196"/>
              <a:gd name="connsiteY195" fmla="*/ 1091990 h 4738686"/>
              <a:gd name="connsiteX196" fmla="*/ 11161721 w 12193196"/>
              <a:gd name="connsiteY196" fmla="*/ 941062 h 4738686"/>
              <a:gd name="connsiteX197" fmla="*/ 10085829 w 12193196"/>
              <a:gd name="connsiteY197" fmla="*/ 939103 h 4738686"/>
              <a:gd name="connsiteX198" fmla="*/ 10062691 w 12193196"/>
              <a:gd name="connsiteY198" fmla="*/ 957273 h 4738686"/>
              <a:gd name="connsiteX199" fmla="*/ 10080861 w 12193196"/>
              <a:gd name="connsiteY199" fmla="*/ 980411 h 4738686"/>
              <a:gd name="connsiteX200" fmla="*/ 10085535 w 12193196"/>
              <a:gd name="connsiteY200" fmla="*/ 980444 h 4738686"/>
              <a:gd name="connsiteX201" fmla="*/ 10085535 w 12193196"/>
              <a:gd name="connsiteY201" fmla="*/ 980415 h 4738686"/>
              <a:gd name="connsiteX202" fmla="*/ 10109531 w 12193196"/>
              <a:gd name="connsiteY202" fmla="*/ 959583 h 4738686"/>
              <a:gd name="connsiteX203" fmla="*/ 10085829 w 12193196"/>
              <a:gd name="connsiteY203" fmla="*/ 939103 h 4738686"/>
              <a:gd name="connsiteX204" fmla="*/ 9480646 w 12193196"/>
              <a:gd name="connsiteY204" fmla="*/ 937655 h 4738686"/>
              <a:gd name="connsiteX205" fmla="*/ 9477708 w 12193196"/>
              <a:gd name="connsiteY205" fmla="*/ 937919 h 4738686"/>
              <a:gd name="connsiteX206" fmla="*/ 9402293 w 12193196"/>
              <a:gd name="connsiteY206" fmla="*/ 944775 h 4738686"/>
              <a:gd name="connsiteX207" fmla="*/ 9402293 w 12193196"/>
              <a:gd name="connsiteY207" fmla="*/ 955931 h 4738686"/>
              <a:gd name="connsiteX208" fmla="*/ 9404644 w 12193196"/>
              <a:gd name="connsiteY208" fmla="*/ 956225 h 4738686"/>
              <a:gd name="connsiteX209" fmla="*/ 9435006 w 12193196"/>
              <a:gd name="connsiteY209" fmla="*/ 981690 h 4738686"/>
              <a:gd name="connsiteX210" fmla="*/ 9435006 w 12193196"/>
              <a:gd name="connsiteY210" fmla="*/ 1139748 h 4738686"/>
              <a:gd name="connsiteX211" fmla="*/ 9480646 w 12193196"/>
              <a:gd name="connsiteY211" fmla="*/ 1139748 h 4738686"/>
              <a:gd name="connsiteX212" fmla="*/ 10710404 w 12193196"/>
              <a:gd name="connsiteY212" fmla="*/ 932962 h 4738686"/>
              <a:gd name="connsiteX213" fmla="*/ 10707368 w 12193196"/>
              <a:gd name="connsiteY213" fmla="*/ 933364 h 4738686"/>
              <a:gd name="connsiteX214" fmla="*/ 10646644 w 12193196"/>
              <a:gd name="connsiteY214" fmla="*/ 940827 h 4738686"/>
              <a:gd name="connsiteX215" fmla="*/ 10646644 w 12193196"/>
              <a:gd name="connsiteY215" fmla="*/ 951600 h 4738686"/>
              <a:gd name="connsiteX216" fmla="*/ 10649288 w 12193196"/>
              <a:gd name="connsiteY216" fmla="*/ 951688 h 4738686"/>
              <a:gd name="connsiteX217" fmla="*/ 10672207 w 12193196"/>
              <a:gd name="connsiteY217" fmla="*/ 975146 h 4738686"/>
              <a:gd name="connsiteX218" fmla="*/ 10672207 w 12193196"/>
              <a:gd name="connsiteY218" fmla="*/ 1139766 h 4738686"/>
              <a:gd name="connsiteX219" fmla="*/ 10710404 w 12193196"/>
              <a:gd name="connsiteY219" fmla="*/ 1139766 h 4738686"/>
              <a:gd name="connsiteX220" fmla="*/ 10710404 w 12193196"/>
              <a:gd name="connsiteY220" fmla="*/ 1068719 h 4738686"/>
              <a:gd name="connsiteX221" fmla="*/ 10746251 w 12193196"/>
              <a:gd name="connsiteY221" fmla="*/ 1022628 h 4738686"/>
              <a:gd name="connsiteX222" fmla="*/ 10767504 w 12193196"/>
              <a:gd name="connsiteY222" fmla="*/ 1052657 h 4738686"/>
              <a:gd name="connsiteX223" fmla="*/ 10767504 w 12193196"/>
              <a:gd name="connsiteY223" fmla="*/ 1139766 h 4738686"/>
              <a:gd name="connsiteX224" fmla="*/ 10805604 w 12193196"/>
              <a:gd name="connsiteY224" fmla="*/ 1139766 h 4738686"/>
              <a:gd name="connsiteX225" fmla="*/ 10805604 w 12193196"/>
              <a:gd name="connsiteY225" fmla="*/ 1048347 h 4738686"/>
              <a:gd name="connsiteX226" fmla="*/ 10762705 w 12193196"/>
              <a:gd name="connsiteY226" fmla="*/ 997682 h 4738686"/>
              <a:gd name="connsiteX227" fmla="*/ 10710404 w 12193196"/>
              <a:gd name="connsiteY227" fmla="*/ 1028093 h 4738686"/>
              <a:gd name="connsiteX228" fmla="*/ 11691292 w 12193196"/>
              <a:gd name="connsiteY228" fmla="*/ 901218 h 4738686"/>
              <a:gd name="connsiteX229" fmla="*/ 11642419 w 12193196"/>
              <a:gd name="connsiteY229" fmla="*/ 957691 h 4738686"/>
              <a:gd name="connsiteX230" fmla="*/ 11682771 w 12193196"/>
              <a:gd name="connsiteY230" fmla="*/ 957691 h 4738686"/>
              <a:gd name="connsiteX231" fmla="*/ 11731644 w 12193196"/>
              <a:gd name="connsiteY231" fmla="*/ 901218 h 4738686"/>
              <a:gd name="connsiteX232" fmla="*/ 10547331 w 12193196"/>
              <a:gd name="connsiteY232" fmla="*/ 583241 h 4738686"/>
              <a:gd name="connsiteX233" fmla="*/ 10606292 w 12193196"/>
              <a:gd name="connsiteY233" fmla="*/ 728608 h 4738686"/>
              <a:gd name="connsiteX234" fmla="*/ 10488370 w 12193196"/>
              <a:gd name="connsiteY234" fmla="*/ 728608 h 4738686"/>
              <a:gd name="connsiteX235" fmla="*/ 11138508 w 12193196"/>
              <a:gd name="connsiteY235" fmla="*/ 528864 h 4738686"/>
              <a:gd name="connsiteX236" fmla="*/ 11138508 w 12193196"/>
              <a:gd name="connsiteY236" fmla="*/ 848508 h 4738686"/>
              <a:gd name="connsiteX237" fmla="*/ 11223130 w 12193196"/>
              <a:gd name="connsiteY237" fmla="*/ 848508 h 4738686"/>
              <a:gd name="connsiteX238" fmla="*/ 11223130 w 12193196"/>
              <a:gd name="connsiteY238" fmla="*/ 707844 h 4738686"/>
              <a:gd name="connsiteX239" fmla="*/ 11394136 w 12193196"/>
              <a:gd name="connsiteY239" fmla="*/ 707844 h 4738686"/>
              <a:gd name="connsiteX240" fmla="*/ 11394136 w 12193196"/>
              <a:gd name="connsiteY240" fmla="*/ 848508 h 4738686"/>
              <a:gd name="connsiteX241" fmla="*/ 11478856 w 12193196"/>
              <a:gd name="connsiteY241" fmla="*/ 848508 h 4738686"/>
              <a:gd name="connsiteX242" fmla="*/ 11478856 w 12193196"/>
              <a:gd name="connsiteY242" fmla="*/ 528864 h 4738686"/>
              <a:gd name="connsiteX243" fmla="*/ 11394136 w 12193196"/>
              <a:gd name="connsiteY243" fmla="*/ 528864 h 4738686"/>
              <a:gd name="connsiteX244" fmla="*/ 11394136 w 12193196"/>
              <a:gd name="connsiteY244" fmla="*/ 656678 h 4738686"/>
              <a:gd name="connsiteX245" fmla="*/ 11223130 w 12193196"/>
              <a:gd name="connsiteY245" fmla="*/ 656678 h 4738686"/>
              <a:gd name="connsiteX246" fmla="*/ 11223130 w 12193196"/>
              <a:gd name="connsiteY246" fmla="*/ 528864 h 4738686"/>
              <a:gd name="connsiteX247" fmla="*/ 10075937 w 12193196"/>
              <a:gd name="connsiteY247" fmla="*/ 528864 h 4738686"/>
              <a:gd name="connsiteX248" fmla="*/ 10075937 w 12193196"/>
              <a:gd name="connsiteY248" fmla="*/ 583241 h 4738686"/>
              <a:gd name="connsiteX249" fmla="*/ 10205416 w 12193196"/>
              <a:gd name="connsiteY249" fmla="*/ 583241 h 4738686"/>
              <a:gd name="connsiteX250" fmla="*/ 10205416 w 12193196"/>
              <a:gd name="connsiteY250" fmla="*/ 848508 h 4738686"/>
              <a:gd name="connsiteX251" fmla="*/ 10290038 w 12193196"/>
              <a:gd name="connsiteY251" fmla="*/ 848508 h 4738686"/>
              <a:gd name="connsiteX252" fmla="*/ 10290038 w 12193196"/>
              <a:gd name="connsiteY252" fmla="*/ 583241 h 4738686"/>
              <a:gd name="connsiteX253" fmla="*/ 10419517 w 12193196"/>
              <a:gd name="connsiteY253" fmla="*/ 583241 h 4738686"/>
              <a:gd name="connsiteX254" fmla="*/ 10419517 w 12193196"/>
              <a:gd name="connsiteY254" fmla="*/ 528864 h 4738686"/>
              <a:gd name="connsiteX255" fmla="*/ 10075937 w 12193196"/>
              <a:gd name="connsiteY255" fmla="*/ 528864 h 4738686"/>
              <a:gd name="connsiteX256" fmla="*/ 10495421 w 12193196"/>
              <a:gd name="connsiteY256" fmla="*/ 528864 h 4738686"/>
              <a:gd name="connsiteX257" fmla="*/ 10346060 w 12193196"/>
              <a:gd name="connsiteY257" fmla="*/ 848508 h 4738686"/>
              <a:gd name="connsiteX258" fmla="*/ 10440280 w 12193196"/>
              <a:gd name="connsiteY258" fmla="*/ 848508 h 4738686"/>
              <a:gd name="connsiteX259" fmla="*/ 10467998 w 12193196"/>
              <a:gd name="connsiteY259" fmla="*/ 779773 h 4738686"/>
              <a:gd name="connsiteX260" fmla="*/ 10626663 w 12193196"/>
              <a:gd name="connsiteY260" fmla="*/ 779773 h 4738686"/>
              <a:gd name="connsiteX261" fmla="*/ 10654381 w 12193196"/>
              <a:gd name="connsiteY261" fmla="*/ 848508 h 4738686"/>
              <a:gd name="connsiteX262" fmla="*/ 10748699 w 12193196"/>
              <a:gd name="connsiteY262" fmla="*/ 848508 h 4738686"/>
              <a:gd name="connsiteX263" fmla="*/ 10599240 w 12193196"/>
              <a:gd name="connsiteY263" fmla="*/ 528864 h 4738686"/>
              <a:gd name="connsiteX264" fmla="*/ 10495421 w 12193196"/>
              <a:gd name="connsiteY264" fmla="*/ 528864 h 4738686"/>
              <a:gd name="connsiteX265" fmla="*/ 11545848 w 12193196"/>
              <a:gd name="connsiteY265" fmla="*/ 528864 h 4738686"/>
              <a:gd name="connsiteX266" fmla="*/ 11545848 w 12193196"/>
              <a:gd name="connsiteY266" fmla="*/ 848508 h 4738686"/>
              <a:gd name="connsiteX267" fmla="*/ 11630666 w 12193196"/>
              <a:gd name="connsiteY267" fmla="*/ 848508 h 4738686"/>
              <a:gd name="connsiteX268" fmla="*/ 11630666 w 12193196"/>
              <a:gd name="connsiteY268" fmla="*/ 528864 h 4738686"/>
              <a:gd name="connsiteX269" fmla="*/ 9553515 w 12193196"/>
              <a:gd name="connsiteY269" fmla="*/ 528864 h 4738686"/>
              <a:gd name="connsiteX270" fmla="*/ 9553515 w 12193196"/>
              <a:gd name="connsiteY270" fmla="*/ 848508 h 4738686"/>
              <a:gd name="connsiteX271" fmla="*/ 9638235 w 12193196"/>
              <a:gd name="connsiteY271" fmla="*/ 848508 h 4738686"/>
              <a:gd name="connsiteX272" fmla="*/ 9638235 w 12193196"/>
              <a:gd name="connsiteY272" fmla="*/ 707844 h 4738686"/>
              <a:gd name="connsiteX273" fmla="*/ 9809143 w 12193196"/>
              <a:gd name="connsiteY273" fmla="*/ 707844 h 4738686"/>
              <a:gd name="connsiteX274" fmla="*/ 9809143 w 12193196"/>
              <a:gd name="connsiteY274" fmla="*/ 848508 h 4738686"/>
              <a:gd name="connsiteX275" fmla="*/ 9893863 w 12193196"/>
              <a:gd name="connsiteY275" fmla="*/ 848508 h 4738686"/>
              <a:gd name="connsiteX276" fmla="*/ 9893863 w 12193196"/>
              <a:gd name="connsiteY276" fmla="*/ 528864 h 4738686"/>
              <a:gd name="connsiteX277" fmla="*/ 9809143 w 12193196"/>
              <a:gd name="connsiteY277" fmla="*/ 528864 h 4738686"/>
              <a:gd name="connsiteX278" fmla="*/ 9809143 w 12193196"/>
              <a:gd name="connsiteY278" fmla="*/ 656678 h 4738686"/>
              <a:gd name="connsiteX279" fmla="*/ 9638235 w 12193196"/>
              <a:gd name="connsiteY279" fmla="*/ 656678 h 4738686"/>
              <a:gd name="connsiteX280" fmla="*/ 9638235 w 12193196"/>
              <a:gd name="connsiteY280" fmla="*/ 528864 h 4738686"/>
              <a:gd name="connsiteX281" fmla="*/ 9960953 w 12193196"/>
              <a:gd name="connsiteY281" fmla="*/ 528864 h 4738686"/>
              <a:gd name="connsiteX282" fmla="*/ 9960953 w 12193196"/>
              <a:gd name="connsiteY282" fmla="*/ 848508 h 4738686"/>
              <a:gd name="connsiteX283" fmla="*/ 10045673 w 12193196"/>
              <a:gd name="connsiteY283" fmla="*/ 848508 h 4738686"/>
              <a:gd name="connsiteX284" fmla="*/ 10045673 w 12193196"/>
              <a:gd name="connsiteY284" fmla="*/ 528864 h 4738686"/>
              <a:gd name="connsiteX285" fmla="*/ 10929795 w 12193196"/>
              <a:gd name="connsiteY285" fmla="*/ 520972 h 4738686"/>
              <a:gd name="connsiteX286" fmla="*/ 10828914 w 12193196"/>
              <a:gd name="connsiteY286" fmla="*/ 537904 h 4738686"/>
              <a:gd name="connsiteX287" fmla="*/ 10756241 w 12193196"/>
              <a:gd name="connsiteY287" fmla="*/ 598756 h 4738686"/>
              <a:gd name="connsiteX288" fmla="*/ 10734302 w 12193196"/>
              <a:gd name="connsiteY288" fmla="*/ 691800 h 4738686"/>
              <a:gd name="connsiteX289" fmla="*/ 10745663 w 12193196"/>
              <a:gd name="connsiteY289" fmla="*/ 759871 h 4738686"/>
              <a:gd name="connsiteX290" fmla="*/ 10745663 w 12193196"/>
              <a:gd name="connsiteY290" fmla="*/ 759880 h 4738686"/>
              <a:gd name="connsiteX291" fmla="*/ 10836847 w 12193196"/>
              <a:gd name="connsiteY291" fmla="*/ 843130 h 4738686"/>
              <a:gd name="connsiteX292" fmla="*/ 10922840 w 12193196"/>
              <a:gd name="connsiteY292" fmla="*/ 856372 h 4738686"/>
              <a:gd name="connsiteX293" fmla="*/ 11031654 w 12193196"/>
              <a:gd name="connsiteY293" fmla="*/ 834140 h 4738686"/>
              <a:gd name="connsiteX294" fmla="*/ 11090810 w 12193196"/>
              <a:gd name="connsiteY294" fmla="*/ 763621 h 4738686"/>
              <a:gd name="connsiteX295" fmla="*/ 11095120 w 12193196"/>
              <a:gd name="connsiteY295" fmla="*/ 733318 h 4738686"/>
              <a:gd name="connsiteX296" fmla="*/ 11005895 w 12193196"/>
              <a:gd name="connsiteY296" fmla="*/ 733318 h 4738686"/>
              <a:gd name="connsiteX297" fmla="*/ 10998941 w 12193196"/>
              <a:gd name="connsiteY297" fmla="*/ 767598 h 4738686"/>
              <a:gd name="connsiteX298" fmla="*/ 10961919 w 12193196"/>
              <a:gd name="connsiteY298" fmla="*/ 800790 h 4738686"/>
              <a:gd name="connsiteX299" fmla="*/ 10922840 w 12193196"/>
              <a:gd name="connsiteY299" fmla="*/ 806873 h 4738686"/>
              <a:gd name="connsiteX300" fmla="*/ 10877395 w 12193196"/>
              <a:gd name="connsiteY300" fmla="*/ 798460 h 4738686"/>
              <a:gd name="connsiteX301" fmla="*/ 10831167 w 12193196"/>
              <a:gd name="connsiteY301" fmla="*/ 748009 h 4738686"/>
              <a:gd name="connsiteX302" fmla="*/ 10823037 w 12193196"/>
              <a:gd name="connsiteY302" fmla="*/ 691820 h 4738686"/>
              <a:gd name="connsiteX303" fmla="*/ 10834595 w 12193196"/>
              <a:gd name="connsiteY303" fmla="*/ 624553 h 4738686"/>
              <a:gd name="connsiteX304" fmla="*/ 10880921 w 12193196"/>
              <a:gd name="connsiteY304" fmla="*/ 577649 h 4738686"/>
              <a:gd name="connsiteX305" fmla="*/ 10922840 w 12193196"/>
              <a:gd name="connsiteY305" fmla="*/ 570431 h 4738686"/>
              <a:gd name="connsiteX306" fmla="*/ 10959862 w 12193196"/>
              <a:gd name="connsiteY306" fmla="*/ 575964 h 4738686"/>
              <a:gd name="connsiteX307" fmla="*/ 10999627 w 12193196"/>
              <a:gd name="connsiteY307" fmla="*/ 612928 h 4738686"/>
              <a:gd name="connsiteX308" fmla="*/ 11004230 w 12193196"/>
              <a:gd name="connsiteY308" fmla="*/ 637521 h 4738686"/>
              <a:gd name="connsiteX309" fmla="*/ 11093063 w 12193196"/>
              <a:gd name="connsiteY309" fmla="*/ 637521 h 4738686"/>
              <a:gd name="connsiteX310" fmla="*/ 11090027 w 12193196"/>
              <a:gd name="connsiteY310" fmla="*/ 617276 h 4738686"/>
              <a:gd name="connsiteX311" fmla="*/ 11029597 w 12193196"/>
              <a:gd name="connsiteY311" fmla="*/ 543409 h 4738686"/>
              <a:gd name="connsiteX312" fmla="*/ 10929795 w 12193196"/>
              <a:gd name="connsiteY312" fmla="*/ 520972 h 4738686"/>
              <a:gd name="connsiteX313" fmla="*/ 0 w 12193196"/>
              <a:gd name="connsiteY313" fmla="*/ 0 h 4738686"/>
              <a:gd name="connsiteX314" fmla="*/ 12193196 w 12193196"/>
              <a:gd name="connsiteY314" fmla="*/ 0 h 4738686"/>
              <a:gd name="connsiteX315" fmla="*/ 12193196 w 12193196"/>
              <a:gd name="connsiteY315" fmla="*/ 4738686 h 4738686"/>
              <a:gd name="connsiteX316" fmla="*/ 0 w 12193196"/>
              <a:gd name="connsiteY316" fmla="*/ 4738686 h 4738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</a:cxnLst>
            <a:rect l="l" t="t" r="r" b="b"/>
            <a:pathLst>
              <a:path w="12193196" h="4738686">
                <a:moveTo>
                  <a:pt x="9943716" y="1018573"/>
                </a:moveTo>
                <a:lnTo>
                  <a:pt x="9943716" y="1018583"/>
                </a:lnTo>
                <a:cubicBezTo>
                  <a:pt x="9969768" y="1018583"/>
                  <a:pt x="9972804" y="1046888"/>
                  <a:pt x="9972804" y="1068171"/>
                </a:cubicBezTo>
                <a:cubicBezTo>
                  <a:pt x="9972804" y="1104410"/>
                  <a:pt x="9963402" y="1122040"/>
                  <a:pt x="9944107" y="1122040"/>
                </a:cubicBezTo>
                <a:cubicBezTo>
                  <a:pt x="9919230" y="1122040"/>
                  <a:pt x="9914039" y="1098847"/>
                  <a:pt x="9914039" y="1079406"/>
                </a:cubicBezTo>
                <a:lnTo>
                  <a:pt x="9914039" y="1067545"/>
                </a:lnTo>
                <a:cubicBezTo>
                  <a:pt x="9914039" y="1052854"/>
                  <a:pt x="9916977" y="1018573"/>
                  <a:pt x="9943716" y="1018573"/>
                </a:cubicBezTo>
                <a:close/>
                <a:moveTo>
                  <a:pt x="11408435" y="1012941"/>
                </a:moveTo>
                <a:cubicBezTo>
                  <a:pt x="11428807" y="1012941"/>
                  <a:pt x="11434096" y="1027633"/>
                  <a:pt x="11434684" y="1041128"/>
                </a:cubicBezTo>
                <a:lnTo>
                  <a:pt x="11379836" y="1041128"/>
                </a:lnTo>
                <a:cubicBezTo>
                  <a:pt x="11380159" y="1025534"/>
                  <a:pt x="11392843" y="1013033"/>
                  <a:pt x="11408435" y="1012941"/>
                </a:cubicBezTo>
                <a:close/>
                <a:moveTo>
                  <a:pt x="10350271" y="1012834"/>
                </a:moveTo>
                <a:cubicBezTo>
                  <a:pt x="10370741" y="1012834"/>
                  <a:pt x="10376030" y="1027584"/>
                  <a:pt x="10376618" y="1041021"/>
                </a:cubicBezTo>
                <a:lnTo>
                  <a:pt x="10321770" y="1041021"/>
                </a:lnTo>
                <a:cubicBezTo>
                  <a:pt x="10322093" y="1025467"/>
                  <a:pt x="10334714" y="1012983"/>
                  <a:pt x="10350271" y="1012834"/>
                </a:cubicBezTo>
                <a:close/>
                <a:moveTo>
                  <a:pt x="10912556" y="1012833"/>
                </a:moveTo>
                <a:cubicBezTo>
                  <a:pt x="10933026" y="1012833"/>
                  <a:pt x="10938217" y="1027584"/>
                  <a:pt x="10938805" y="1041021"/>
                </a:cubicBezTo>
                <a:lnTo>
                  <a:pt x="10883957" y="1041021"/>
                </a:lnTo>
                <a:cubicBezTo>
                  <a:pt x="10884290" y="1025434"/>
                  <a:pt x="10896964" y="1012941"/>
                  <a:pt x="10912556" y="1012833"/>
                </a:cubicBezTo>
                <a:close/>
                <a:moveTo>
                  <a:pt x="11605397" y="1000835"/>
                </a:moveTo>
                <a:lnTo>
                  <a:pt x="11568179" y="1043841"/>
                </a:lnTo>
                <a:lnTo>
                  <a:pt x="11535270" y="1000923"/>
                </a:lnTo>
                <a:lnTo>
                  <a:pt x="11476897" y="1000923"/>
                </a:lnTo>
                <a:lnTo>
                  <a:pt x="11476897" y="1011922"/>
                </a:lnTo>
                <a:lnTo>
                  <a:pt x="11479443" y="1012079"/>
                </a:lnTo>
                <a:cubicBezTo>
                  <a:pt x="11499326" y="1013430"/>
                  <a:pt x="11503831" y="1016976"/>
                  <a:pt x="11516074" y="1033136"/>
                </a:cubicBezTo>
                <a:lnTo>
                  <a:pt x="11539971" y="1064899"/>
                </a:lnTo>
                <a:lnTo>
                  <a:pt x="11500893" y="1110021"/>
                </a:lnTo>
                <a:lnTo>
                  <a:pt x="11541245" y="1110021"/>
                </a:lnTo>
                <a:lnTo>
                  <a:pt x="11558776" y="1089874"/>
                </a:lnTo>
                <a:lnTo>
                  <a:pt x="11596386" y="1139824"/>
                </a:lnTo>
                <a:lnTo>
                  <a:pt x="11641635" y="1139824"/>
                </a:lnTo>
                <a:lnTo>
                  <a:pt x="11569942" y="1046192"/>
                </a:lnTo>
                <a:lnTo>
                  <a:pt x="11606474" y="1046221"/>
                </a:lnTo>
                <a:lnTo>
                  <a:pt x="11645651" y="1000835"/>
                </a:lnTo>
                <a:close/>
                <a:moveTo>
                  <a:pt x="11409709" y="997750"/>
                </a:moveTo>
                <a:cubicBezTo>
                  <a:pt x="11362305" y="997750"/>
                  <a:pt x="11338211" y="1020600"/>
                  <a:pt x="11338211" y="1065684"/>
                </a:cubicBezTo>
                <a:cubicBezTo>
                  <a:pt x="11338211" y="1114066"/>
                  <a:pt x="11369259" y="1143008"/>
                  <a:pt x="11421168" y="1143008"/>
                </a:cubicBezTo>
                <a:cubicBezTo>
                  <a:pt x="11437024" y="1142934"/>
                  <a:pt x="11452764" y="1140308"/>
                  <a:pt x="11467788" y="1135231"/>
                </a:cubicBezTo>
                <a:lnTo>
                  <a:pt x="11470041" y="1134527"/>
                </a:lnTo>
                <a:lnTo>
                  <a:pt x="11470041" y="1116084"/>
                </a:lnTo>
                <a:lnTo>
                  <a:pt x="11466417" y="1117376"/>
                </a:lnTo>
                <a:cubicBezTo>
                  <a:pt x="11456779" y="1120531"/>
                  <a:pt x="11446691" y="1122122"/>
                  <a:pt x="11436545" y="1122088"/>
                </a:cubicBezTo>
                <a:cubicBezTo>
                  <a:pt x="11395801" y="1122088"/>
                  <a:pt x="11380620" y="1088181"/>
                  <a:pt x="11379738" y="1058034"/>
                </a:cubicBezTo>
                <a:lnTo>
                  <a:pt x="11472979" y="1058034"/>
                </a:lnTo>
                <a:lnTo>
                  <a:pt x="11472979" y="1055330"/>
                </a:lnTo>
                <a:cubicBezTo>
                  <a:pt x="11472979" y="1017133"/>
                  <a:pt x="11451726" y="997750"/>
                  <a:pt x="11409709" y="997750"/>
                </a:cubicBezTo>
                <a:close/>
                <a:moveTo>
                  <a:pt x="9781426" y="997723"/>
                </a:moveTo>
                <a:cubicBezTo>
                  <a:pt x="9745481" y="997723"/>
                  <a:pt x="9724032" y="1013119"/>
                  <a:pt x="9724032" y="1038926"/>
                </a:cubicBezTo>
                <a:cubicBezTo>
                  <a:pt x="9724032" y="1062100"/>
                  <a:pt x="9746265" y="1073031"/>
                  <a:pt x="9765951" y="1082648"/>
                </a:cubicBezTo>
                <a:cubicBezTo>
                  <a:pt x="9781230" y="1090161"/>
                  <a:pt x="9795725" y="1097203"/>
                  <a:pt x="9795725" y="1108378"/>
                </a:cubicBezTo>
                <a:cubicBezTo>
                  <a:pt x="9795725" y="1118877"/>
                  <a:pt x="9786421" y="1124901"/>
                  <a:pt x="9770261" y="1124901"/>
                </a:cubicBezTo>
                <a:cubicBezTo>
                  <a:pt x="9755255" y="1123971"/>
                  <a:pt x="9740791" y="1118948"/>
                  <a:pt x="9728439" y="1110376"/>
                </a:cubicBezTo>
                <a:lnTo>
                  <a:pt x="9724326" y="1107888"/>
                </a:lnTo>
                <a:lnTo>
                  <a:pt x="9724326" y="1137271"/>
                </a:lnTo>
                <a:lnTo>
                  <a:pt x="9727166" y="1137888"/>
                </a:lnTo>
                <a:cubicBezTo>
                  <a:pt x="9740855" y="1141241"/>
                  <a:pt x="9754894" y="1142947"/>
                  <a:pt x="9768987" y="1142971"/>
                </a:cubicBezTo>
                <a:cubicBezTo>
                  <a:pt x="9807576" y="1142971"/>
                  <a:pt x="9830593" y="1127134"/>
                  <a:pt x="9830593" y="1100631"/>
                </a:cubicBezTo>
                <a:cubicBezTo>
                  <a:pt x="9830593" y="1074372"/>
                  <a:pt x="9807381" y="1062982"/>
                  <a:pt x="9786911" y="1052913"/>
                </a:cubicBezTo>
                <a:lnTo>
                  <a:pt x="9786911" y="1052884"/>
                </a:lnTo>
                <a:cubicBezTo>
                  <a:pt x="9771828" y="1045527"/>
                  <a:pt x="9758899" y="1039172"/>
                  <a:pt x="9758899" y="1028779"/>
                </a:cubicBezTo>
                <a:cubicBezTo>
                  <a:pt x="9758899" y="1017026"/>
                  <a:pt x="9773003" y="1015714"/>
                  <a:pt x="9779075" y="1015714"/>
                </a:cubicBezTo>
                <a:cubicBezTo>
                  <a:pt x="9791882" y="1016511"/>
                  <a:pt x="9804235" y="1020760"/>
                  <a:pt x="9814824" y="1028006"/>
                </a:cubicBezTo>
                <a:lnTo>
                  <a:pt x="9820799" y="1031649"/>
                </a:lnTo>
                <a:lnTo>
                  <a:pt x="9820799" y="1003079"/>
                </a:lnTo>
                <a:lnTo>
                  <a:pt x="9816097" y="1002101"/>
                </a:lnTo>
                <a:cubicBezTo>
                  <a:pt x="9804739" y="999359"/>
                  <a:pt x="9793109" y="997890"/>
                  <a:pt x="9781426" y="997723"/>
                </a:cubicBezTo>
                <a:close/>
                <a:moveTo>
                  <a:pt x="10913830" y="997682"/>
                </a:moveTo>
                <a:cubicBezTo>
                  <a:pt x="10866426" y="997682"/>
                  <a:pt x="10842430" y="1020493"/>
                  <a:pt x="10842430" y="1065566"/>
                </a:cubicBezTo>
                <a:cubicBezTo>
                  <a:pt x="10842430" y="1114017"/>
                  <a:pt x="10873380" y="1142940"/>
                  <a:pt x="10925289" y="1142940"/>
                </a:cubicBezTo>
                <a:cubicBezTo>
                  <a:pt x="10941146" y="1142830"/>
                  <a:pt x="10956885" y="1140185"/>
                  <a:pt x="10971909" y="1135104"/>
                </a:cubicBezTo>
                <a:lnTo>
                  <a:pt x="10974162" y="1134399"/>
                </a:lnTo>
                <a:lnTo>
                  <a:pt x="10974162" y="1115976"/>
                </a:lnTo>
                <a:lnTo>
                  <a:pt x="10970538" y="1117289"/>
                </a:lnTo>
                <a:cubicBezTo>
                  <a:pt x="10960910" y="1120484"/>
                  <a:pt x="10950813" y="1122075"/>
                  <a:pt x="10940666" y="1122000"/>
                </a:cubicBezTo>
                <a:cubicBezTo>
                  <a:pt x="10899922" y="1122000"/>
                  <a:pt x="10884741" y="1088122"/>
                  <a:pt x="10883957" y="1057926"/>
                </a:cubicBezTo>
                <a:lnTo>
                  <a:pt x="10977100" y="1057926"/>
                </a:lnTo>
                <a:lnTo>
                  <a:pt x="10977100" y="1055242"/>
                </a:lnTo>
                <a:cubicBezTo>
                  <a:pt x="10977100" y="1017044"/>
                  <a:pt x="10955847" y="997682"/>
                  <a:pt x="10913830" y="997682"/>
                </a:cubicBezTo>
                <a:close/>
                <a:moveTo>
                  <a:pt x="10351643" y="997682"/>
                </a:moveTo>
                <a:cubicBezTo>
                  <a:pt x="10304239" y="997682"/>
                  <a:pt x="10280145" y="1020493"/>
                  <a:pt x="10280145" y="1065566"/>
                </a:cubicBezTo>
                <a:cubicBezTo>
                  <a:pt x="10280145" y="1114017"/>
                  <a:pt x="10311193" y="1142940"/>
                  <a:pt x="10363102" y="1142940"/>
                </a:cubicBezTo>
                <a:cubicBezTo>
                  <a:pt x="10378961" y="1142830"/>
                  <a:pt x="10394698" y="1140185"/>
                  <a:pt x="10409722" y="1135104"/>
                </a:cubicBezTo>
                <a:lnTo>
                  <a:pt x="10411975" y="1134399"/>
                </a:lnTo>
                <a:lnTo>
                  <a:pt x="10411975" y="1115976"/>
                </a:lnTo>
                <a:lnTo>
                  <a:pt x="10408351" y="1117289"/>
                </a:lnTo>
                <a:cubicBezTo>
                  <a:pt x="10398713" y="1120466"/>
                  <a:pt x="10388625" y="1122057"/>
                  <a:pt x="10378479" y="1122000"/>
                </a:cubicBezTo>
                <a:cubicBezTo>
                  <a:pt x="10337735" y="1122000"/>
                  <a:pt x="10322554" y="1088122"/>
                  <a:pt x="10321672" y="1057926"/>
                </a:cubicBezTo>
                <a:lnTo>
                  <a:pt x="10414913" y="1057926"/>
                </a:lnTo>
                <a:lnTo>
                  <a:pt x="10414913" y="1055242"/>
                </a:lnTo>
                <a:cubicBezTo>
                  <a:pt x="10414913" y="1017045"/>
                  <a:pt x="10393660" y="997682"/>
                  <a:pt x="10351643" y="997682"/>
                </a:cubicBezTo>
                <a:close/>
                <a:moveTo>
                  <a:pt x="10104241" y="997212"/>
                </a:moveTo>
                <a:lnTo>
                  <a:pt x="10101107" y="997702"/>
                </a:lnTo>
                <a:lnTo>
                  <a:pt x="10040873" y="1007280"/>
                </a:lnTo>
                <a:lnTo>
                  <a:pt x="10040873" y="1017937"/>
                </a:lnTo>
                <a:lnTo>
                  <a:pt x="10043517" y="1018005"/>
                </a:lnTo>
                <a:cubicBezTo>
                  <a:pt x="10062322" y="1018563"/>
                  <a:pt x="10066142" y="1022432"/>
                  <a:pt x="10066142" y="1040865"/>
                </a:cubicBezTo>
                <a:lnTo>
                  <a:pt x="10066142" y="1139787"/>
                </a:lnTo>
                <a:lnTo>
                  <a:pt x="10104241" y="1139787"/>
                </a:lnTo>
                <a:close/>
                <a:moveTo>
                  <a:pt x="9914333" y="997212"/>
                </a:moveTo>
                <a:lnTo>
                  <a:pt x="9911199" y="997703"/>
                </a:lnTo>
                <a:lnTo>
                  <a:pt x="9850377" y="1007280"/>
                </a:lnTo>
                <a:lnTo>
                  <a:pt x="9850377" y="1017937"/>
                </a:lnTo>
                <a:lnTo>
                  <a:pt x="9853021" y="1018005"/>
                </a:lnTo>
                <a:cubicBezTo>
                  <a:pt x="9872022" y="1018563"/>
                  <a:pt x="9875940" y="1022433"/>
                  <a:pt x="9875940" y="1040865"/>
                </a:cubicBezTo>
                <a:lnTo>
                  <a:pt x="9875940" y="1198327"/>
                </a:lnTo>
                <a:lnTo>
                  <a:pt x="9914039" y="1198327"/>
                </a:lnTo>
                <a:lnTo>
                  <a:pt x="9914039" y="1126594"/>
                </a:lnTo>
                <a:cubicBezTo>
                  <a:pt x="9923719" y="1138012"/>
                  <a:pt x="9938291" y="1144094"/>
                  <a:pt x="9953216" y="1142940"/>
                </a:cubicBezTo>
                <a:cubicBezTo>
                  <a:pt x="9993176" y="1142940"/>
                  <a:pt x="10014234" y="1117064"/>
                  <a:pt x="10014234" y="1068171"/>
                </a:cubicBezTo>
                <a:cubicBezTo>
                  <a:pt x="10014234" y="1023334"/>
                  <a:pt x="9992491" y="997654"/>
                  <a:pt x="9954587" y="997654"/>
                </a:cubicBezTo>
                <a:lnTo>
                  <a:pt x="9954587" y="997682"/>
                </a:lnTo>
                <a:cubicBezTo>
                  <a:pt x="9939027" y="998380"/>
                  <a:pt x="9924452" y="1005498"/>
                  <a:pt x="9914333" y="1017339"/>
                </a:cubicBezTo>
                <a:close/>
                <a:moveTo>
                  <a:pt x="9585052" y="997212"/>
                </a:moveTo>
                <a:lnTo>
                  <a:pt x="9581918" y="997703"/>
                </a:lnTo>
                <a:lnTo>
                  <a:pt x="9520704" y="1007280"/>
                </a:lnTo>
                <a:lnTo>
                  <a:pt x="9520704" y="1017986"/>
                </a:lnTo>
                <a:lnTo>
                  <a:pt x="9523348" y="1017986"/>
                </a:lnTo>
                <a:cubicBezTo>
                  <a:pt x="9542741" y="1018545"/>
                  <a:pt x="9546952" y="1022609"/>
                  <a:pt x="9546952" y="1040846"/>
                </a:cubicBezTo>
                <a:lnTo>
                  <a:pt x="9546952" y="1139767"/>
                </a:lnTo>
                <a:lnTo>
                  <a:pt x="9585052" y="1139767"/>
                </a:lnTo>
                <a:lnTo>
                  <a:pt x="9585052" y="1066967"/>
                </a:lnTo>
                <a:cubicBezTo>
                  <a:pt x="9585052" y="1047623"/>
                  <a:pt x="9603269" y="1022628"/>
                  <a:pt x="9622661" y="1022628"/>
                </a:cubicBezTo>
                <a:cubicBezTo>
                  <a:pt x="9640879" y="1022628"/>
                  <a:pt x="9641858" y="1037849"/>
                  <a:pt x="9641858" y="1062687"/>
                </a:cubicBezTo>
                <a:lnTo>
                  <a:pt x="9641858" y="1139767"/>
                </a:lnTo>
                <a:lnTo>
                  <a:pt x="9680055" y="1139767"/>
                </a:lnTo>
                <a:lnTo>
                  <a:pt x="9680055" y="1040866"/>
                </a:lnTo>
                <a:cubicBezTo>
                  <a:pt x="9680055" y="1013011"/>
                  <a:pt x="9664972" y="997682"/>
                  <a:pt x="9637647" y="997682"/>
                </a:cubicBezTo>
                <a:cubicBezTo>
                  <a:pt x="9616043" y="998193"/>
                  <a:pt x="9596200" y="1009718"/>
                  <a:pt x="9585052" y="1028230"/>
                </a:cubicBezTo>
                <a:close/>
                <a:moveTo>
                  <a:pt x="10204730" y="997212"/>
                </a:moveTo>
                <a:lnTo>
                  <a:pt x="10201596" y="997702"/>
                </a:lnTo>
                <a:lnTo>
                  <a:pt x="10140774" y="1007280"/>
                </a:lnTo>
                <a:lnTo>
                  <a:pt x="10140774" y="1017985"/>
                </a:lnTo>
                <a:lnTo>
                  <a:pt x="10143418" y="1017985"/>
                </a:lnTo>
                <a:cubicBezTo>
                  <a:pt x="10162713" y="1018544"/>
                  <a:pt x="10166631" y="1022412"/>
                  <a:pt x="10166631" y="1040845"/>
                </a:cubicBezTo>
                <a:lnTo>
                  <a:pt x="10166631" y="1139766"/>
                </a:lnTo>
                <a:lnTo>
                  <a:pt x="10204730" y="1139766"/>
                </a:lnTo>
                <a:lnTo>
                  <a:pt x="10204730" y="1068455"/>
                </a:lnTo>
                <a:cubicBezTo>
                  <a:pt x="10202786" y="1048275"/>
                  <a:pt x="10217569" y="1030340"/>
                  <a:pt x="10237749" y="1028396"/>
                </a:cubicBezTo>
                <a:cubicBezTo>
                  <a:pt x="10240025" y="1028176"/>
                  <a:pt x="10242316" y="1028170"/>
                  <a:pt x="10244592" y="1028377"/>
                </a:cubicBezTo>
                <a:cubicBezTo>
                  <a:pt x="10249094" y="1028635"/>
                  <a:pt x="10253541" y="1029494"/>
                  <a:pt x="10257815" y="1030933"/>
                </a:cubicBezTo>
                <a:lnTo>
                  <a:pt x="10263985" y="1032667"/>
                </a:lnTo>
                <a:lnTo>
                  <a:pt x="10263985" y="1029112"/>
                </a:lnTo>
                <a:lnTo>
                  <a:pt x="10263985" y="999484"/>
                </a:lnTo>
                <a:lnTo>
                  <a:pt x="10261732" y="999141"/>
                </a:lnTo>
                <a:cubicBezTo>
                  <a:pt x="10255737" y="998203"/>
                  <a:pt x="10249680" y="997715"/>
                  <a:pt x="10243613" y="997682"/>
                </a:cubicBezTo>
                <a:cubicBezTo>
                  <a:pt x="10226159" y="998411"/>
                  <a:pt x="10210840" y="1009523"/>
                  <a:pt x="10204730" y="1025889"/>
                </a:cubicBezTo>
                <a:close/>
                <a:moveTo>
                  <a:pt x="10548800" y="957712"/>
                </a:moveTo>
                <a:lnTo>
                  <a:pt x="10548800" y="1000943"/>
                </a:lnTo>
                <a:lnTo>
                  <a:pt x="10523237" y="1000943"/>
                </a:lnTo>
                <a:lnTo>
                  <a:pt x="10523237" y="1017828"/>
                </a:lnTo>
                <a:lnTo>
                  <a:pt x="10548800" y="1017828"/>
                </a:lnTo>
                <a:lnTo>
                  <a:pt x="10548800" y="1103283"/>
                </a:lnTo>
                <a:cubicBezTo>
                  <a:pt x="10548800" y="1140080"/>
                  <a:pt x="10572502" y="1143028"/>
                  <a:pt x="10601199" y="1143028"/>
                </a:cubicBezTo>
                <a:cubicBezTo>
                  <a:pt x="10608721" y="1142852"/>
                  <a:pt x="10616223" y="1142072"/>
                  <a:pt x="10623627" y="1140697"/>
                </a:cubicBezTo>
                <a:lnTo>
                  <a:pt x="10625880" y="1140364"/>
                </a:lnTo>
                <a:lnTo>
                  <a:pt x="10625880" y="1123146"/>
                </a:lnTo>
                <a:lnTo>
                  <a:pt x="10622648" y="1123880"/>
                </a:lnTo>
                <a:cubicBezTo>
                  <a:pt x="10618848" y="1124646"/>
                  <a:pt x="10614969" y="1125014"/>
                  <a:pt x="10611091" y="1124977"/>
                </a:cubicBezTo>
                <a:cubicBezTo>
                  <a:pt x="10588173" y="1124977"/>
                  <a:pt x="10586899" y="1118219"/>
                  <a:pt x="10586899" y="1098690"/>
                </a:cubicBezTo>
                <a:lnTo>
                  <a:pt x="10586899" y="1017809"/>
                </a:lnTo>
                <a:lnTo>
                  <a:pt x="10629798" y="1017809"/>
                </a:lnTo>
                <a:lnTo>
                  <a:pt x="10629798" y="1000923"/>
                </a:lnTo>
                <a:lnTo>
                  <a:pt x="10586899" y="1000923"/>
                </a:lnTo>
                <a:lnTo>
                  <a:pt x="10586899" y="957712"/>
                </a:lnTo>
                <a:close/>
                <a:moveTo>
                  <a:pt x="11683359" y="957623"/>
                </a:moveTo>
                <a:lnTo>
                  <a:pt x="11683359" y="1000923"/>
                </a:lnTo>
                <a:lnTo>
                  <a:pt x="11657796" y="1000923"/>
                </a:lnTo>
                <a:lnTo>
                  <a:pt x="11657796" y="1017808"/>
                </a:lnTo>
                <a:lnTo>
                  <a:pt x="11683359" y="1017808"/>
                </a:lnTo>
                <a:lnTo>
                  <a:pt x="11683359" y="1103263"/>
                </a:lnTo>
                <a:cubicBezTo>
                  <a:pt x="11683359" y="1140059"/>
                  <a:pt x="11707061" y="1143007"/>
                  <a:pt x="11735758" y="1143007"/>
                </a:cubicBezTo>
                <a:cubicBezTo>
                  <a:pt x="11743250" y="1142836"/>
                  <a:pt x="11750723" y="1142056"/>
                  <a:pt x="11758089" y="1140676"/>
                </a:cubicBezTo>
                <a:lnTo>
                  <a:pt x="11760439" y="1140343"/>
                </a:lnTo>
                <a:lnTo>
                  <a:pt x="11760439" y="1123145"/>
                </a:lnTo>
                <a:lnTo>
                  <a:pt x="11757109" y="1123879"/>
                </a:lnTo>
                <a:cubicBezTo>
                  <a:pt x="11753338" y="1124651"/>
                  <a:pt x="11749499" y="1125018"/>
                  <a:pt x="11745650" y="1124976"/>
                </a:cubicBezTo>
                <a:cubicBezTo>
                  <a:pt x="11722634" y="1124976"/>
                  <a:pt x="11721458" y="1118218"/>
                  <a:pt x="11721458" y="1098689"/>
                </a:cubicBezTo>
                <a:lnTo>
                  <a:pt x="11721458" y="1017808"/>
                </a:lnTo>
                <a:lnTo>
                  <a:pt x="11764357" y="1017808"/>
                </a:lnTo>
                <a:lnTo>
                  <a:pt x="11764357" y="1000923"/>
                </a:lnTo>
                <a:lnTo>
                  <a:pt x="11721458" y="1000923"/>
                </a:lnTo>
                <a:lnTo>
                  <a:pt x="11721458" y="957623"/>
                </a:lnTo>
                <a:close/>
                <a:moveTo>
                  <a:pt x="11073573" y="941062"/>
                </a:moveTo>
                <a:lnTo>
                  <a:pt x="11073573" y="952413"/>
                </a:lnTo>
                <a:lnTo>
                  <a:pt x="11081212" y="953686"/>
                </a:lnTo>
                <a:cubicBezTo>
                  <a:pt x="11104425" y="957603"/>
                  <a:pt x="11106384" y="957927"/>
                  <a:pt x="11106384" y="980541"/>
                </a:cubicBezTo>
                <a:lnTo>
                  <a:pt x="11106384" y="1139765"/>
                </a:lnTo>
                <a:lnTo>
                  <a:pt x="11147323" y="1139765"/>
                </a:lnTo>
                <a:lnTo>
                  <a:pt x="11147323" y="981708"/>
                </a:lnTo>
                <a:lnTo>
                  <a:pt x="11251827" y="1139765"/>
                </a:lnTo>
                <a:lnTo>
                  <a:pt x="11302267" y="1139765"/>
                </a:lnTo>
                <a:lnTo>
                  <a:pt x="11302267" y="941062"/>
                </a:lnTo>
                <a:lnTo>
                  <a:pt x="11299623" y="941062"/>
                </a:lnTo>
                <a:lnTo>
                  <a:pt x="11261328" y="941062"/>
                </a:lnTo>
                <a:lnTo>
                  <a:pt x="11261328" y="1091990"/>
                </a:lnTo>
                <a:cubicBezTo>
                  <a:pt x="11253492" y="1080022"/>
                  <a:pt x="11161721" y="941062"/>
                  <a:pt x="11161721" y="941062"/>
                </a:cubicBezTo>
                <a:close/>
                <a:moveTo>
                  <a:pt x="10085829" y="939103"/>
                </a:moveTo>
                <a:cubicBezTo>
                  <a:pt x="10074421" y="937731"/>
                  <a:pt x="10064062" y="945866"/>
                  <a:pt x="10062691" y="957273"/>
                </a:cubicBezTo>
                <a:cubicBezTo>
                  <a:pt x="10061319" y="968679"/>
                  <a:pt x="10069454" y="979039"/>
                  <a:pt x="10080861" y="980411"/>
                </a:cubicBezTo>
                <a:cubicBezTo>
                  <a:pt x="10082413" y="980598"/>
                  <a:pt x="10083981" y="980609"/>
                  <a:pt x="10085535" y="980444"/>
                </a:cubicBezTo>
                <a:lnTo>
                  <a:pt x="10085535" y="980415"/>
                </a:lnTo>
                <a:cubicBezTo>
                  <a:pt x="10097883" y="981196"/>
                  <a:pt x="10108570" y="971918"/>
                  <a:pt x="10109531" y="959583"/>
                </a:cubicBezTo>
                <a:cubicBezTo>
                  <a:pt x="10108536" y="947436"/>
                  <a:pt x="10097992" y="938325"/>
                  <a:pt x="10085829" y="939103"/>
                </a:cubicBezTo>
                <a:close/>
                <a:moveTo>
                  <a:pt x="9480646" y="937655"/>
                </a:moveTo>
                <a:lnTo>
                  <a:pt x="9477708" y="937919"/>
                </a:lnTo>
                <a:lnTo>
                  <a:pt x="9402293" y="944775"/>
                </a:lnTo>
                <a:lnTo>
                  <a:pt x="9402293" y="955931"/>
                </a:lnTo>
                <a:lnTo>
                  <a:pt x="9404644" y="956225"/>
                </a:lnTo>
                <a:cubicBezTo>
                  <a:pt x="9435006" y="959800"/>
                  <a:pt x="9435006" y="959800"/>
                  <a:pt x="9435006" y="981690"/>
                </a:cubicBezTo>
                <a:lnTo>
                  <a:pt x="9435006" y="1139748"/>
                </a:lnTo>
                <a:lnTo>
                  <a:pt x="9480646" y="1139748"/>
                </a:lnTo>
                <a:close/>
                <a:moveTo>
                  <a:pt x="10710404" y="932962"/>
                </a:moveTo>
                <a:lnTo>
                  <a:pt x="10707368" y="933364"/>
                </a:lnTo>
                <a:lnTo>
                  <a:pt x="10646644" y="940827"/>
                </a:lnTo>
                <a:lnTo>
                  <a:pt x="10646644" y="951600"/>
                </a:lnTo>
                <a:lnTo>
                  <a:pt x="10649288" y="951688"/>
                </a:lnTo>
                <a:cubicBezTo>
                  <a:pt x="10668191" y="952531"/>
                  <a:pt x="10672207" y="956683"/>
                  <a:pt x="10672207" y="975146"/>
                </a:cubicBezTo>
                <a:lnTo>
                  <a:pt x="10672207" y="1139766"/>
                </a:lnTo>
                <a:lnTo>
                  <a:pt x="10710404" y="1139766"/>
                </a:lnTo>
                <a:lnTo>
                  <a:pt x="10710404" y="1068719"/>
                </a:lnTo>
                <a:cubicBezTo>
                  <a:pt x="10710404" y="1042755"/>
                  <a:pt x="10729699" y="1022628"/>
                  <a:pt x="10746251" y="1022628"/>
                </a:cubicBezTo>
                <a:cubicBezTo>
                  <a:pt x="10767504" y="1022628"/>
                  <a:pt x="10767504" y="1038553"/>
                  <a:pt x="10767504" y="1052657"/>
                </a:cubicBezTo>
                <a:lnTo>
                  <a:pt x="10767504" y="1139766"/>
                </a:lnTo>
                <a:lnTo>
                  <a:pt x="10805604" y="1139766"/>
                </a:lnTo>
                <a:lnTo>
                  <a:pt x="10805604" y="1048347"/>
                </a:lnTo>
                <a:cubicBezTo>
                  <a:pt x="10805604" y="1033157"/>
                  <a:pt x="10805604" y="997682"/>
                  <a:pt x="10762705" y="997682"/>
                </a:cubicBezTo>
                <a:cubicBezTo>
                  <a:pt x="10741089" y="997754"/>
                  <a:pt x="10721158" y="1009345"/>
                  <a:pt x="10710404" y="1028093"/>
                </a:cubicBezTo>
                <a:close/>
                <a:moveTo>
                  <a:pt x="11691292" y="901218"/>
                </a:moveTo>
                <a:lnTo>
                  <a:pt x="11642419" y="957691"/>
                </a:lnTo>
                <a:lnTo>
                  <a:pt x="11682771" y="957691"/>
                </a:lnTo>
                <a:lnTo>
                  <a:pt x="11731644" y="901218"/>
                </a:lnTo>
                <a:close/>
                <a:moveTo>
                  <a:pt x="10547331" y="583241"/>
                </a:moveTo>
                <a:lnTo>
                  <a:pt x="10606292" y="728608"/>
                </a:lnTo>
                <a:lnTo>
                  <a:pt x="10488370" y="728608"/>
                </a:lnTo>
                <a:close/>
                <a:moveTo>
                  <a:pt x="11138508" y="528864"/>
                </a:moveTo>
                <a:cubicBezTo>
                  <a:pt x="11138998" y="528864"/>
                  <a:pt x="11138508" y="848508"/>
                  <a:pt x="11138508" y="848508"/>
                </a:cubicBezTo>
                <a:lnTo>
                  <a:pt x="11223130" y="848508"/>
                </a:lnTo>
                <a:cubicBezTo>
                  <a:pt x="11223130" y="848596"/>
                  <a:pt x="11223228" y="708373"/>
                  <a:pt x="11223130" y="707844"/>
                </a:cubicBezTo>
                <a:cubicBezTo>
                  <a:pt x="11223130" y="707844"/>
                  <a:pt x="11394136" y="708236"/>
                  <a:pt x="11394136" y="707844"/>
                </a:cubicBezTo>
                <a:lnTo>
                  <a:pt x="11394136" y="848508"/>
                </a:lnTo>
                <a:cubicBezTo>
                  <a:pt x="11394234" y="848508"/>
                  <a:pt x="11478758" y="848508"/>
                  <a:pt x="11478856" y="848508"/>
                </a:cubicBezTo>
                <a:cubicBezTo>
                  <a:pt x="11479150" y="848156"/>
                  <a:pt x="11478856" y="528864"/>
                  <a:pt x="11478856" y="528864"/>
                </a:cubicBezTo>
                <a:cubicBezTo>
                  <a:pt x="11477974" y="528864"/>
                  <a:pt x="11394038" y="528864"/>
                  <a:pt x="11394136" y="528864"/>
                </a:cubicBezTo>
                <a:cubicBezTo>
                  <a:pt x="11394038" y="528835"/>
                  <a:pt x="11394136" y="657149"/>
                  <a:pt x="11394136" y="656678"/>
                </a:cubicBezTo>
                <a:lnTo>
                  <a:pt x="11223130" y="656678"/>
                </a:lnTo>
                <a:lnTo>
                  <a:pt x="11223130" y="528864"/>
                </a:lnTo>
                <a:close/>
                <a:moveTo>
                  <a:pt x="10075937" y="528864"/>
                </a:moveTo>
                <a:cubicBezTo>
                  <a:pt x="10076133" y="528933"/>
                  <a:pt x="10075937" y="583241"/>
                  <a:pt x="10075937" y="583241"/>
                </a:cubicBezTo>
                <a:lnTo>
                  <a:pt x="10205416" y="583241"/>
                </a:lnTo>
                <a:lnTo>
                  <a:pt x="10205416" y="848508"/>
                </a:lnTo>
                <a:lnTo>
                  <a:pt x="10290038" y="848508"/>
                </a:lnTo>
                <a:lnTo>
                  <a:pt x="10290038" y="583241"/>
                </a:lnTo>
                <a:lnTo>
                  <a:pt x="10419517" y="583241"/>
                </a:lnTo>
                <a:lnTo>
                  <a:pt x="10419517" y="528864"/>
                </a:lnTo>
                <a:cubicBezTo>
                  <a:pt x="10419517" y="528864"/>
                  <a:pt x="10076133" y="528933"/>
                  <a:pt x="10075937" y="528864"/>
                </a:cubicBezTo>
                <a:close/>
                <a:moveTo>
                  <a:pt x="10495421" y="528864"/>
                </a:moveTo>
                <a:lnTo>
                  <a:pt x="10346060" y="848508"/>
                </a:lnTo>
                <a:cubicBezTo>
                  <a:pt x="10346060" y="848508"/>
                  <a:pt x="10440378" y="848596"/>
                  <a:pt x="10440280" y="848508"/>
                </a:cubicBezTo>
                <a:cubicBezTo>
                  <a:pt x="10440672" y="848596"/>
                  <a:pt x="10467998" y="779773"/>
                  <a:pt x="10467998" y="779773"/>
                </a:cubicBezTo>
                <a:lnTo>
                  <a:pt x="10626663" y="779773"/>
                </a:lnTo>
                <a:cubicBezTo>
                  <a:pt x="10626663" y="779773"/>
                  <a:pt x="10654479" y="848508"/>
                  <a:pt x="10654381" y="848508"/>
                </a:cubicBezTo>
                <a:cubicBezTo>
                  <a:pt x="10653793" y="848508"/>
                  <a:pt x="10748895" y="848508"/>
                  <a:pt x="10748699" y="848508"/>
                </a:cubicBezTo>
                <a:lnTo>
                  <a:pt x="10599240" y="528864"/>
                </a:lnTo>
                <a:cubicBezTo>
                  <a:pt x="10599240" y="528864"/>
                  <a:pt x="10495421" y="529060"/>
                  <a:pt x="10495421" y="528864"/>
                </a:cubicBezTo>
                <a:close/>
                <a:moveTo>
                  <a:pt x="11545848" y="528864"/>
                </a:moveTo>
                <a:lnTo>
                  <a:pt x="11545848" y="848508"/>
                </a:lnTo>
                <a:lnTo>
                  <a:pt x="11630666" y="848508"/>
                </a:lnTo>
                <a:lnTo>
                  <a:pt x="11630666" y="528864"/>
                </a:lnTo>
                <a:close/>
                <a:moveTo>
                  <a:pt x="9553515" y="528864"/>
                </a:moveTo>
                <a:cubicBezTo>
                  <a:pt x="9554005" y="528864"/>
                  <a:pt x="9553515" y="848508"/>
                  <a:pt x="9553515" y="848508"/>
                </a:cubicBezTo>
                <a:lnTo>
                  <a:pt x="9638235" y="848508"/>
                </a:lnTo>
                <a:cubicBezTo>
                  <a:pt x="9638137" y="848596"/>
                  <a:pt x="9638333" y="708372"/>
                  <a:pt x="9638235" y="707844"/>
                </a:cubicBezTo>
                <a:cubicBezTo>
                  <a:pt x="9638235" y="707844"/>
                  <a:pt x="9809143" y="708235"/>
                  <a:pt x="9809143" y="707844"/>
                </a:cubicBezTo>
                <a:lnTo>
                  <a:pt x="9809143" y="848508"/>
                </a:lnTo>
                <a:cubicBezTo>
                  <a:pt x="9809241" y="848508"/>
                  <a:pt x="9893765" y="848508"/>
                  <a:pt x="9893863" y="848508"/>
                </a:cubicBezTo>
                <a:cubicBezTo>
                  <a:pt x="9894157" y="848156"/>
                  <a:pt x="9893863" y="528864"/>
                  <a:pt x="9893863" y="528864"/>
                </a:cubicBezTo>
                <a:cubicBezTo>
                  <a:pt x="9892982" y="528864"/>
                  <a:pt x="9809045" y="528864"/>
                  <a:pt x="9809143" y="528864"/>
                </a:cubicBezTo>
                <a:cubicBezTo>
                  <a:pt x="9809045" y="528835"/>
                  <a:pt x="9809143" y="657149"/>
                  <a:pt x="9809143" y="656678"/>
                </a:cubicBezTo>
                <a:lnTo>
                  <a:pt x="9638235" y="656678"/>
                </a:lnTo>
                <a:cubicBezTo>
                  <a:pt x="9638137" y="657589"/>
                  <a:pt x="9638235" y="528864"/>
                  <a:pt x="9638235" y="528864"/>
                </a:cubicBezTo>
                <a:close/>
                <a:moveTo>
                  <a:pt x="9960953" y="528864"/>
                </a:moveTo>
                <a:lnTo>
                  <a:pt x="9960953" y="848508"/>
                </a:lnTo>
                <a:lnTo>
                  <a:pt x="10045673" y="848508"/>
                </a:lnTo>
                <a:lnTo>
                  <a:pt x="10045673" y="528864"/>
                </a:lnTo>
                <a:close/>
                <a:moveTo>
                  <a:pt x="10929795" y="520972"/>
                </a:moveTo>
                <a:cubicBezTo>
                  <a:pt x="10895705" y="520037"/>
                  <a:pt x="10861435" y="525663"/>
                  <a:pt x="10828914" y="537904"/>
                </a:cubicBezTo>
                <a:cubicBezTo>
                  <a:pt x="10798464" y="549314"/>
                  <a:pt x="10772823" y="570783"/>
                  <a:pt x="10756241" y="598756"/>
                </a:cubicBezTo>
                <a:cubicBezTo>
                  <a:pt x="10740717" y="627243"/>
                  <a:pt x="10733146" y="659380"/>
                  <a:pt x="10734302" y="691800"/>
                </a:cubicBezTo>
                <a:cubicBezTo>
                  <a:pt x="10734233" y="714967"/>
                  <a:pt x="10738073" y="737980"/>
                  <a:pt x="10745663" y="759871"/>
                </a:cubicBezTo>
                <a:lnTo>
                  <a:pt x="10745663" y="759880"/>
                </a:lnTo>
                <a:cubicBezTo>
                  <a:pt x="10761403" y="800341"/>
                  <a:pt x="10795124" y="831133"/>
                  <a:pt x="10836847" y="843130"/>
                </a:cubicBezTo>
                <a:cubicBezTo>
                  <a:pt x="10864672" y="851890"/>
                  <a:pt x="10893673" y="856355"/>
                  <a:pt x="10922840" y="856372"/>
                </a:cubicBezTo>
                <a:cubicBezTo>
                  <a:pt x="10960234" y="856306"/>
                  <a:pt x="10997237" y="848747"/>
                  <a:pt x="11031654" y="834140"/>
                </a:cubicBezTo>
                <a:cubicBezTo>
                  <a:pt x="11061389" y="821282"/>
                  <a:pt x="11083318" y="795144"/>
                  <a:pt x="11090810" y="763621"/>
                </a:cubicBezTo>
                <a:cubicBezTo>
                  <a:pt x="11093210" y="753680"/>
                  <a:pt x="11094650" y="743533"/>
                  <a:pt x="11095120" y="733318"/>
                </a:cubicBezTo>
                <a:lnTo>
                  <a:pt x="11005895" y="733318"/>
                </a:lnTo>
                <a:cubicBezTo>
                  <a:pt x="11005993" y="745104"/>
                  <a:pt x="11003623" y="756780"/>
                  <a:pt x="10998941" y="767598"/>
                </a:cubicBezTo>
                <a:cubicBezTo>
                  <a:pt x="10991918" y="783450"/>
                  <a:pt x="10978442" y="795534"/>
                  <a:pt x="10961919" y="800790"/>
                </a:cubicBezTo>
                <a:cubicBezTo>
                  <a:pt x="10949294" y="804866"/>
                  <a:pt x="10936101" y="806919"/>
                  <a:pt x="10922840" y="806873"/>
                </a:cubicBezTo>
                <a:cubicBezTo>
                  <a:pt x="10907307" y="806833"/>
                  <a:pt x="10891910" y="803983"/>
                  <a:pt x="10877395" y="798460"/>
                </a:cubicBezTo>
                <a:cubicBezTo>
                  <a:pt x="10854849" y="789938"/>
                  <a:pt x="10837689" y="771214"/>
                  <a:pt x="10831167" y="748009"/>
                </a:cubicBezTo>
                <a:cubicBezTo>
                  <a:pt x="10825907" y="729738"/>
                  <a:pt x="10823175" y="710832"/>
                  <a:pt x="10823037" y="691820"/>
                </a:cubicBezTo>
                <a:cubicBezTo>
                  <a:pt x="10823086" y="668907"/>
                  <a:pt x="10826994" y="646167"/>
                  <a:pt x="10834595" y="624553"/>
                </a:cubicBezTo>
                <a:cubicBezTo>
                  <a:pt x="10842165" y="602725"/>
                  <a:pt x="10859188" y="585486"/>
                  <a:pt x="10880921" y="577649"/>
                </a:cubicBezTo>
                <a:cubicBezTo>
                  <a:pt x="10894378" y="572858"/>
                  <a:pt x="10908560" y="570417"/>
                  <a:pt x="10922840" y="570431"/>
                </a:cubicBezTo>
                <a:cubicBezTo>
                  <a:pt x="10935387" y="570428"/>
                  <a:pt x="10947864" y="572293"/>
                  <a:pt x="10959862" y="575964"/>
                </a:cubicBezTo>
                <a:cubicBezTo>
                  <a:pt x="10978118" y="581479"/>
                  <a:pt x="10992800" y="595124"/>
                  <a:pt x="10999627" y="612928"/>
                </a:cubicBezTo>
                <a:cubicBezTo>
                  <a:pt x="11002506" y="620816"/>
                  <a:pt x="11004063" y="629125"/>
                  <a:pt x="11004230" y="637521"/>
                </a:cubicBezTo>
                <a:lnTo>
                  <a:pt x="11093063" y="637521"/>
                </a:lnTo>
                <a:cubicBezTo>
                  <a:pt x="11092456" y="630719"/>
                  <a:pt x="11091437" y="623958"/>
                  <a:pt x="11090027" y="617276"/>
                </a:cubicBezTo>
                <a:cubicBezTo>
                  <a:pt x="11083112" y="584284"/>
                  <a:pt x="11060566" y="556724"/>
                  <a:pt x="11029597" y="543409"/>
                </a:cubicBezTo>
                <a:cubicBezTo>
                  <a:pt x="10997795" y="529404"/>
                  <a:pt x="10963885" y="521907"/>
                  <a:pt x="10929795" y="520972"/>
                </a:cubicBezTo>
                <a:close/>
                <a:moveTo>
                  <a:pt x="0" y="0"/>
                </a:moveTo>
                <a:lnTo>
                  <a:pt x="12193196" y="0"/>
                </a:lnTo>
                <a:lnTo>
                  <a:pt x="12193196" y="4738686"/>
                </a:lnTo>
                <a:lnTo>
                  <a:pt x="0" y="4738686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wrap="square" tIns="684000" anchor="ctr">
            <a:noAutofit/>
          </a:bodyPr>
          <a:lstStyle>
            <a:lvl1pPr algn="ctr">
              <a:defRPr sz="1800"/>
            </a:lvl1pPr>
          </a:lstStyle>
          <a:p>
            <a:r>
              <a:rPr lang="en-GB" dirty="0"/>
              <a:t> </a:t>
            </a:r>
          </a:p>
        </p:txBody>
      </p:sp>
      <p:grpSp>
        <p:nvGrpSpPr>
          <p:cNvPr id="16" name="グループ化 39">
            <a:extLst>
              <a:ext uri="{FF2B5EF4-FFF2-40B4-BE49-F238E27FC236}">
                <a16:creationId xmlns:a16="http://schemas.microsoft.com/office/drawing/2014/main" xmlns="" id="{6809A62B-C3B4-4040-AF1D-DC2BF3BDB821}"/>
              </a:ext>
            </a:extLst>
          </p:cNvPr>
          <p:cNvGrpSpPr/>
          <p:nvPr/>
        </p:nvGrpSpPr>
        <p:grpSpPr bwMode="gray">
          <a:xfrm>
            <a:off x="0" y="4739176"/>
            <a:ext cx="12192000" cy="129984"/>
            <a:chOff x="324487" y="2057426"/>
            <a:chExt cx="8495663" cy="97488"/>
          </a:xfrm>
        </p:grpSpPr>
        <p:sp>
          <p:nvSpPr>
            <p:cNvPr id="17" name="正方形/長方形 11">
              <a:extLst>
                <a:ext uri="{FF2B5EF4-FFF2-40B4-BE49-F238E27FC236}">
                  <a16:creationId xmlns:a16="http://schemas.microsoft.com/office/drawing/2014/main" xmlns="" id="{DE7BDB25-5A30-4A34-ABFC-B07249D3BFF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24489" y="2057426"/>
              <a:ext cx="8495661" cy="97488"/>
            </a:xfrm>
            <a:prstGeom prst="rect">
              <a:avLst/>
            </a:prstGeom>
            <a:solidFill>
              <a:srgbClr val="7373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>
                <a:defRPr/>
              </a:pPr>
              <a:endParaRPr lang="en-GB" altLang="ja-JP" sz="4623" dirty="0"/>
            </a:p>
          </p:txBody>
        </p:sp>
        <p:grpSp>
          <p:nvGrpSpPr>
            <p:cNvPr id="18" name="グループ化 16">
              <a:extLst>
                <a:ext uri="{FF2B5EF4-FFF2-40B4-BE49-F238E27FC236}">
                  <a16:creationId xmlns:a16="http://schemas.microsoft.com/office/drawing/2014/main" xmlns="" id="{74096499-38D4-462C-8826-1DB8FC711C1A}"/>
                </a:ext>
              </a:extLst>
            </p:cNvPr>
            <p:cNvGrpSpPr/>
            <p:nvPr/>
          </p:nvGrpSpPr>
          <p:grpSpPr bwMode="gray">
            <a:xfrm>
              <a:off x="324487" y="2057426"/>
              <a:ext cx="1938812" cy="97488"/>
              <a:chOff x="312738" y="2747963"/>
              <a:chExt cx="1970087" cy="109537"/>
            </a:xfrm>
          </p:grpSpPr>
          <p:sp>
            <p:nvSpPr>
              <p:cNvPr id="19" name="正方形/長方形 42">
                <a:extLst>
                  <a:ext uri="{FF2B5EF4-FFF2-40B4-BE49-F238E27FC236}">
                    <a16:creationId xmlns:a16="http://schemas.microsoft.com/office/drawing/2014/main" xmlns="" id="{177D7250-BABC-4571-82D6-043E996D9DB0}"/>
                  </a:ext>
                </a:extLst>
              </p:cNvPr>
              <p:cNvSpPr/>
              <p:nvPr/>
            </p:nvSpPr>
            <p:spPr bwMode="gray">
              <a:xfrm>
                <a:off x="312738" y="2747963"/>
                <a:ext cx="1970087" cy="109537"/>
              </a:xfrm>
              <a:prstGeom prst="rect">
                <a:avLst/>
              </a:prstGeom>
              <a:solidFill>
                <a:srgbClr val="FF0026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en-GB" altLang="ja-JP" sz="2400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20" name="正方形/長方形 43">
                <a:extLst>
                  <a:ext uri="{FF2B5EF4-FFF2-40B4-BE49-F238E27FC236}">
                    <a16:creationId xmlns:a16="http://schemas.microsoft.com/office/drawing/2014/main" xmlns="" id="{BFDA5A74-11DA-4E7F-9508-F12960D3B74E}"/>
                  </a:ext>
                </a:extLst>
              </p:cNvPr>
              <p:cNvSpPr/>
              <p:nvPr/>
            </p:nvSpPr>
            <p:spPr bwMode="gray">
              <a:xfrm>
                <a:off x="312738" y="2747963"/>
                <a:ext cx="985837" cy="109537"/>
              </a:xfrm>
              <a:prstGeom prst="rect">
                <a:avLst/>
              </a:prstGeom>
              <a:solidFill>
                <a:srgbClr val="B3B3B3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en-GB" altLang="ja-JP" sz="2400" kern="0" dirty="0">
                  <a:solidFill>
                    <a:sysClr val="windowText" lastClr="000000"/>
                  </a:solidFill>
                </a:endParaRPr>
              </a:p>
            </p:txBody>
          </p:sp>
        </p:grpSp>
      </p:grpSp>
      <p:pic>
        <p:nvPicPr>
          <p:cNvPr id="23" name="Confidential" hidden="1">
            <a:extLst>
              <a:ext uri="{FF2B5EF4-FFF2-40B4-BE49-F238E27FC236}">
                <a16:creationId xmlns:a16="http://schemas.microsoft.com/office/drawing/2014/main" xmlns="" id="{F228D1DE-D36C-4E9B-BD91-2341FC0B7E0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277200" y="345600"/>
            <a:ext cx="1671890" cy="266400"/>
          </a:xfrm>
          <a:prstGeom prst="rect">
            <a:avLst/>
          </a:prstGeom>
        </p:spPr>
      </p:pic>
      <p:pic>
        <p:nvPicPr>
          <p:cNvPr id="24" name="Public">
            <a:extLst>
              <a:ext uri="{FF2B5EF4-FFF2-40B4-BE49-F238E27FC236}">
                <a16:creationId xmlns:a16="http://schemas.microsoft.com/office/drawing/2014/main" xmlns="" id="{335E045B-8C20-4063-A4AC-CE1126B6A6B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275718" y="345600"/>
            <a:ext cx="1671890" cy="266400"/>
          </a:xfrm>
          <a:prstGeom prst="rect">
            <a:avLst/>
          </a:prstGeom>
        </p:spPr>
      </p:pic>
      <p:pic>
        <p:nvPicPr>
          <p:cNvPr id="25" name="Internal" hidden="1">
            <a:extLst>
              <a:ext uri="{FF2B5EF4-FFF2-40B4-BE49-F238E27FC236}">
                <a16:creationId xmlns:a16="http://schemas.microsoft.com/office/drawing/2014/main" xmlns="" id="{CFAE1106-3574-4FE9-B82F-D12EAEB197C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275718" y="344152"/>
            <a:ext cx="1671890" cy="266400"/>
          </a:xfrm>
          <a:prstGeom prst="rect">
            <a:avLst/>
          </a:prstGeom>
        </p:spPr>
      </p:pic>
      <p:pic>
        <p:nvPicPr>
          <p:cNvPr id="27" name="Strictly" hidden="1">
            <a:extLst>
              <a:ext uri="{FF2B5EF4-FFF2-40B4-BE49-F238E27FC236}">
                <a16:creationId xmlns:a16="http://schemas.microsoft.com/office/drawing/2014/main" xmlns="" id="{C9A12DA8-BB00-43A2-B6FC-35D89D95C927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>
            <a:off x="261960" y="345600"/>
            <a:ext cx="1671890" cy="266400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xmlns="" id="{C1CABBB2-CA9C-41F3-A28D-6CEDF3BDE24A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99330" y="6370483"/>
            <a:ext cx="2663370" cy="363891"/>
          </a:xfrm>
          <a:prstGeom prst="rect">
            <a:avLst/>
          </a:prstGeom>
        </p:spPr>
      </p:pic>
      <p:sp>
        <p:nvSpPr>
          <p:cNvPr id="34" name="Footer Placeholder 4">
            <a:extLst>
              <a:ext uri="{FF2B5EF4-FFF2-40B4-BE49-F238E27FC236}">
                <a16:creationId xmlns:a16="http://schemas.microsoft.com/office/drawing/2014/main" xmlns="" id="{0486618B-68FB-45E3-A35A-DDD33A48B6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5" name="Slide Number Placeholder 5">
            <a:extLst>
              <a:ext uri="{FF2B5EF4-FFF2-40B4-BE49-F238E27FC236}">
                <a16:creationId xmlns:a16="http://schemas.microsoft.com/office/drawing/2014/main" xmlns="" id="{DC8ACF76-1594-442B-8415-8F2C0043D3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C24EC536-6FE3-4540-8D85-74C58F0BF69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6" name="text" descr="{&#10; &quot;SkabelonDesign&quot;: {&#10; &quot;textualValue&quot;: &quot;&lt;key1/&gt;&quot;,&#10; &quot;bindingCollection&quot;: {&#10; &quot;key1&quot;: {&quot;SkabelonDesign&quot;:{&quot;type&quot;:&quot;Text&quot;,&quot;binding&quot;:&quot;Copyright&quot;}}&#10; }&#10; }&#10;}">
            <a:extLst>
              <a:ext uri="{FF2B5EF4-FFF2-40B4-BE49-F238E27FC236}">
                <a16:creationId xmlns:a16="http://schemas.microsoft.com/office/drawing/2014/main" xmlns="" id="{E21B88A0-A403-4AB9-884E-E1F08D8A6559}"/>
              </a:ext>
            </a:extLst>
          </p:cNvPr>
          <p:cNvSpPr txBox="1"/>
          <p:nvPr userDrawn="1"/>
        </p:nvSpPr>
        <p:spPr bwMode="gray">
          <a:xfrm>
            <a:off x="4856400" y="6540775"/>
            <a:ext cx="2484000" cy="16920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0" i="0" u="none" strike="noStrike" kern="1200" cap="none" spc="-1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© 2023 Hitachi Energy. All rights reserved.</a:t>
            </a:r>
            <a:endParaRPr kumimoji="0" lang="en-GB" sz="900" b="0" i="0" u="none" strike="noStrike" kern="1200" cap="none" spc="-1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37" name="Title 1" descr="{&#10; &quot;SkabelonDesign&quot;: {&#10; &quot;textualValue&quot;: &quot;&lt;key1/&gt;&quot;,&#10; &quot;bindingCollection&quot;: {&#10; &quot;key1&quot;: {&quot;SkabelonDesign&quot;:{&quot;type&quot;:&quot;Text&quot;,&quot;binding&quot;:&quot;Title&quot;}}&#10; }&#10; }&#10;}">
            <a:extLst>
              <a:ext uri="{FF2B5EF4-FFF2-40B4-BE49-F238E27FC236}">
                <a16:creationId xmlns:a16="http://schemas.microsoft.com/office/drawing/2014/main" xmlns="" id="{85A083AA-2179-4949-BA44-96F5E7F17DD0}"/>
              </a:ext>
            </a:extLst>
          </p:cNvPr>
          <p:cNvSpPr txBox="1">
            <a:spLocks/>
          </p:cNvSpPr>
          <p:nvPr userDrawn="1"/>
        </p:nvSpPr>
        <p:spPr>
          <a:xfrm>
            <a:off x="1368000" y="5090400"/>
            <a:ext cx="10555200" cy="493200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>
                <a:solidFill>
                  <a:schemeClr val="tx1"/>
                </a:solidFill>
              </a:rPr>
              <a:t>Multiterminal experiences</a:t>
            </a:r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38" name="Subtitle 2" descr="{&#10; &quot;SkabelonDesign&quot;: {&#10; &quot;textualValue&quot;: &quot;&lt;key1/&gt;&quot;,&#10; &quot;bindingCollection&quot;: {&#10; &quot;key1&quot;: {&quot;SkabelonDesign&quot;:{&quot;type&quot;:&quot;Text&quot;,&quot;binding&quot;:&quot;SupplementaryTitle&quot;}}&#10; }&#10; }&#10;}">
            <a:extLst>
              <a:ext uri="{FF2B5EF4-FFF2-40B4-BE49-F238E27FC236}">
                <a16:creationId xmlns:a16="http://schemas.microsoft.com/office/drawing/2014/main" xmlns="" id="{9D64BD7E-9341-47BB-BA00-E31F74C1F95B}"/>
              </a:ext>
            </a:extLst>
          </p:cNvPr>
          <p:cNvSpPr txBox="1">
            <a:spLocks/>
          </p:cNvSpPr>
          <p:nvPr userDrawn="1"/>
        </p:nvSpPr>
        <p:spPr>
          <a:xfrm>
            <a:off x="1378800" y="5583600"/>
            <a:ext cx="10555200" cy="327600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 Nova Light" panose="020B0304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schemeClr val="tx1"/>
                </a:solidFill>
                <a:latin typeface="+mn-lt"/>
              </a:rPr>
              <a:t>Examples from CMS project</a:t>
            </a:r>
            <a:endParaRPr lang="en-GB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39" name="Subtitle 2" descr="{&#10; &quot;SkabelonDesign&quot;: {&#10; &quot;textualValue&quot;: &quot;&lt;key1/&gt;&quot;,&#10; &quot;bindingCollection&quot;: {&#10; &quot;key1&quot;: {&quot;SkabelonDesign&quot;:{&quot;type&quot;:&quot;Text&quot;,&quot;binding&quot;:&quot;AdditionalInformation&quot;}}&#10; }&#10; }&#10;}">
            <a:extLst>
              <a:ext uri="{FF2B5EF4-FFF2-40B4-BE49-F238E27FC236}">
                <a16:creationId xmlns:a16="http://schemas.microsoft.com/office/drawing/2014/main" xmlns="" id="{0EC2E723-61CE-4C8C-BECE-AF3403B1D12D}"/>
              </a:ext>
            </a:extLst>
          </p:cNvPr>
          <p:cNvSpPr txBox="1">
            <a:spLocks/>
          </p:cNvSpPr>
          <p:nvPr userDrawn="1"/>
        </p:nvSpPr>
        <p:spPr>
          <a:xfrm>
            <a:off x="1378800" y="5972400"/>
            <a:ext cx="10555200" cy="306000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 Nova Light" panose="020B0304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>
              <a:solidFill>
                <a:schemeClr val="tx1"/>
              </a:solidFill>
            </a:endParaRPr>
          </a:p>
        </p:txBody>
      </p:sp>
      <p:sp>
        <p:nvSpPr>
          <p:cNvPr id="40" name="text" descr="{&#10; &quot;SkabelonDesign&quot;: {&#10; &quot;textualValue&quot;: &quot;&lt;key1/&gt;&quot;,&#10; &quot;bindingCollection&quot;: {&#10; &quot;key1&quot;: {&quot;SkabelonDesign&quot;:{&quot;type&quot;:&quot;Text&quot;,&quot;binding&quot;:&quot;PPMetadata&quot;}}&#10; }&#10; }&#10;}">
            <a:extLst>
              <a:ext uri="{FF2B5EF4-FFF2-40B4-BE49-F238E27FC236}">
                <a16:creationId xmlns:a16="http://schemas.microsoft.com/office/drawing/2014/main" xmlns="" id="{CDF51FEF-E9E1-4C32-AB05-F101B7031708}"/>
              </a:ext>
            </a:extLst>
          </p:cNvPr>
          <p:cNvSpPr txBox="1"/>
          <p:nvPr userDrawn="1"/>
        </p:nvSpPr>
        <p:spPr bwMode="gray">
          <a:xfrm>
            <a:off x="1378800" y="6547975"/>
            <a:ext cx="2889921" cy="15494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algn="l"/>
            <a:r>
              <a:rPr lang="en-GB" sz="930">
                <a:solidFill>
                  <a:schemeClr val="tx1"/>
                </a:solidFill>
              </a:rPr>
              <a:t>2023-10-11</a:t>
            </a:r>
            <a:endParaRPr lang="en-GB" sz="93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6963090"/>
      </p:ext>
    </p:extLst>
  </p:cSld>
  <p:clrMapOvr>
    <a:masterClrMapping/>
  </p:clrMapOvr>
  <p:hf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xmlns="" id="{AD1B31ED-E7F7-4220-8A41-FD0D2DB422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4" y="187199"/>
            <a:ext cx="8856000" cy="435600"/>
          </a:xfrm>
        </p:spPr>
        <p:txBody>
          <a:bodyPr anchor="ctr">
            <a:noAutofit/>
          </a:bodyPr>
          <a:lstStyle>
            <a:lvl1pPr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xmlns="" id="{22B03D77-2FA2-473A-AE4B-5598DD84CA0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117457" y="3879442"/>
            <a:ext cx="4074543" cy="2465796"/>
          </a:xfrm>
          <a:noFill/>
        </p:spPr>
        <p:txBody>
          <a:bodyPr tIns="756000" anchor="ctr"/>
          <a:lstStyle>
            <a:lvl1pPr algn="ctr">
              <a:defRPr>
                <a:solidFill>
                  <a:srgbClr val="737373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xmlns="" id="{22A883F4-CFBC-4CBC-8A0D-C4833E1B0B29}"/>
              </a:ext>
            </a:extLst>
          </p:cNvPr>
          <p:cNvSpPr>
            <a:spLocks noGrp="1"/>
          </p:cNvSpPr>
          <p:nvPr>
            <p:ph sz="quarter" idx="32"/>
          </p:nvPr>
        </p:nvSpPr>
        <p:spPr bwMode="gray">
          <a:xfrm>
            <a:off x="8117457" y="1947770"/>
            <a:ext cx="3811019" cy="1931672"/>
          </a:xfrm>
        </p:spPr>
        <p:txBody>
          <a:bodyPr lIns="324000" tIns="0" rIns="108000" bIns="324000"/>
          <a:lstStyle>
            <a:lvl1pPr>
              <a:lnSpc>
                <a:spcPct val="100000"/>
              </a:lnSpc>
              <a:spcBef>
                <a:spcPts val="600"/>
              </a:spcBef>
              <a:defRPr sz="1200"/>
            </a:lvl1pPr>
            <a:lvl2pPr>
              <a:lnSpc>
                <a:spcPct val="100000"/>
              </a:lnSpc>
              <a:spcBef>
                <a:spcPts val="600"/>
              </a:spcBef>
              <a:defRPr sz="1200"/>
            </a:lvl2pPr>
            <a:lvl3pPr>
              <a:lnSpc>
                <a:spcPct val="100000"/>
              </a:lnSpc>
              <a:spcBef>
                <a:spcPts val="600"/>
              </a:spcBef>
              <a:defRPr sz="1200"/>
            </a:lvl3pPr>
            <a:lvl4pPr>
              <a:lnSpc>
                <a:spcPct val="100000"/>
              </a:lnSpc>
              <a:spcBef>
                <a:spcPts val="600"/>
              </a:spcBef>
              <a:defRPr sz="1200"/>
            </a:lvl4pPr>
            <a:lvl5pPr>
              <a:lnSpc>
                <a:spcPct val="100000"/>
              </a:lnSpc>
              <a:spcBef>
                <a:spcPts val="600"/>
              </a:spcBef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xmlns="" id="{F53AC1E3-D661-4688-928C-C864A4595EA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>
          <a:xfrm>
            <a:off x="8117457" y="882649"/>
            <a:ext cx="3811019" cy="805271"/>
          </a:xfrm>
        </p:spPr>
        <p:txBody>
          <a:bodyPr lIns="324000" tIns="216000" rIns="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81E6774A-9B02-43E6-AF77-2A4668151235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fld id="{C24EC536-6FE3-4540-8D85-74C58F0BF69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Footer Placeholder 5">
            <a:extLst>
              <a:ext uri="{FF2B5EF4-FFF2-40B4-BE49-F238E27FC236}">
                <a16:creationId xmlns:a16="http://schemas.microsoft.com/office/drawing/2014/main" xmlns="" id="{728D6A8E-B7B2-46FE-B092-198A01EC3C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16400" y="6433200"/>
            <a:ext cx="6123600" cy="255600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900"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8623819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(1.2)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xmlns="" id="{0DEC4303-B6CF-46B0-B379-C819ED7C21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4" y="187199"/>
            <a:ext cx="8856000" cy="435600"/>
          </a:xfrm>
        </p:spPr>
        <p:txBody>
          <a:bodyPr anchor="ctr">
            <a:no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xmlns="" id="{77AD5145-5964-48FD-8668-FAC67E019C0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1" y="882650"/>
            <a:ext cx="12191999" cy="5462588"/>
          </a:xfrm>
          <a:noFill/>
        </p:spPr>
        <p:txBody>
          <a:bodyPr tIns="756000" anchor="ctr"/>
          <a:lstStyle>
            <a:lvl1pPr algn="ctr">
              <a:defRPr>
                <a:solidFill>
                  <a:srgbClr val="737373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0ADE5099-B64D-4E55-81FB-49ABBB6A6446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C24EC536-6FE3-4540-8D85-74C58F0BF69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ooter Placeholder 5">
            <a:extLst>
              <a:ext uri="{FF2B5EF4-FFF2-40B4-BE49-F238E27FC236}">
                <a16:creationId xmlns:a16="http://schemas.microsoft.com/office/drawing/2014/main" xmlns="" id="{6329601D-B987-48A1-91A5-3437FFB0929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16400" y="6433200"/>
            <a:ext cx="6123600" cy="255600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900"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4953161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xmlns="" id="{0DEC4303-B6CF-46B0-B379-C819ED7C21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4" y="187199"/>
            <a:ext cx="8856000" cy="435600"/>
          </a:xfrm>
        </p:spPr>
        <p:txBody>
          <a:bodyPr anchor="ctr">
            <a:no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xmlns="" id="{5EFDDFA6-A169-418F-B10F-BD5F68A5495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1" y="882650"/>
            <a:ext cx="12192000" cy="5462588"/>
          </a:xfrm>
          <a:noFill/>
        </p:spPr>
        <p:txBody>
          <a:bodyPr tIns="756000" anchor="ctr"/>
          <a:lstStyle>
            <a:lvl1pPr algn="ctr">
              <a:defRPr>
                <a:solidFill>
                  <a:srgbClr val="737373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xmlns="" id="{E443FC17-BCDF-43B2-ACE2-E95733DC12BE}"/>
              </a:ext>
            </a:extLst>
          </p:cNvPr>
          <p:cNvSpPr>
            <a:spLocks noGrp="1"/>
          </p:cNvSpPr>
          <p:nvPr>
            <p:ph sz="quarter" idx="27"/>
          </p:nvPr>
        </p:nvSpPr>
        <p:spPr bwMode="gray">
          <a:xfrm>
            <a:off x="263525" y="1125538"/>
            <a:ext cx="3672236" cy="4471200"/>
          </a:xfrm>
          <a:solidFill>
            <a:schemeClr val="bg1"/>
          </a:solidFill>
        </p:spPr>
        <p:txBody>
          <a:bodyPr lIns="324000" tIns="252000" rIns="324000" bIns="46800"/>
          <a:lstStyle>
            <a:lvl1pPr>
              <a:lnSpc>
                <a:spcPct val="100000"/>
              </a:lnSpc>
              <a:spcBef>
                <a:spcPts val="600"/>
              </a:spcBef>
              <a:defRPr sz="2000" b="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2000" b="1"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35CF78A4-6DF2-4125-932D-83748BE56F6E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C24EC536-6FE3-4540-8D85-74C58F0BF69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ooter Placeholder 5">
            <a:extLst>
              <a:ext uri="{FF2B5EF4-FFF2-40B4-BE49-F238E27FC236}">
                <a16:creationId xmlns:a16="http://schemas.microsoft.com/office/drawing/2014/main" xmlns="" id="{D4975902-38A0-4F75-A808-F5066273AE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16400" y="6433200"/>
            <a:ext cx="6123600" cy="255600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900"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5586647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4) &amp; (Red) (1.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3">
            <a:extLst>
              <a:ext uri="{FF2B5EF4-FFF2-40B4-BE49-F238E27FC236}">
                <a16:creationId xmlns:a16="http://schemas.microsoft.com/office/drawing/2014/main" xmlns="" id="{C0EE7B7B-F566-4855-B2E0-D348111D66F4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431704" y="1268760"/>
            <a:ext cx="4248472" cy="2448272"/>
          </a:xfrm>
          <a:noFill/>
        </p:spPr>
        <p:txBody>
          <a:bodyPr tIns="756000" anchor="ctr"/>
          <a:lstStyle>
            <a:lvl1pPr algn="ctr">
              <a:defRPr>
                <a:solidFill>
                  <a:srgbClr val="737373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xmlns="" id="{97E6A79D-7394-4BCC-8689-C94B7FC7798A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896027" y="1268760"/>
            <a:ext cx="4032448" cy="2448272"/>
          </a:xfrm>
          <a:noFill/>
        </p:spPr>
        <p:txBody>
          <a:bodyPr tIns="756000" anchor="ctr"/>
          <a:lstStyle>
            <a:lvl1pPr algn="ctr">
              <a:defRPr>
                <a:solidFill>
                  <a:srgbClr val="737373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8" name="Picture Placeholder 3">
            <a:extLst>
              <a:ext uri="{FF2B5EF4-FFF2-40B4-BE49-F238E27FC236}">
                <a16:creationId xmlns:a16="http://schemas.microsoft.com/office/drawing/2014/main" xmlns="" id="{A2501572-ACDF-4C5D-9DF5-F46F5B75D4D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431704" y="3896966"/>
            <a:ext cx="4248472" cy="2448272"/>
          </a:xfrm>
          <a:noFill/>
        </p:spPr>
        <p:txBody>
          <a:bodyPr tIns="756000" anchor="ctr"/>
          <a:lstStyle>
            <a:lvl1pPr algn="ctr">
              <a:defRPr>
                <a:solidFill>
                  <a:srgbClr val="737373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xmlns="" id="{E9DDE618-DE60-409A-81C9-DF306EC1F8BE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7896027" y="3896966"/>
            <a:ext cx="4032448" cy="2448272"/>
          </a:xfrm>
          <a:noFill/>
        </p:spPr>
        <p:txBody>
          <a:bodyPr tIns="756000" anchor="ctr"/>
          <a:lstStyle>
            <a:lvl1pPr algn="ctr">
              <a:defRPr>
                <a:solidFill>
                  <a:srgbClr val="737373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xmlns="" id="{5DE7F3C5-E709-407F-AE6E-D2E1093035DE}"/>
              </a:ext>
            </a:extLst>
          </p:cNvPr>
          <p:cNvSpPr>
            <a:spLocks noGrp="1"/>
          </p:cNvSpPr>
          <p:nvPr>
            <p:ph sz="quarter" idx="26"/>
          </p:nvPr>
        </p:nvSpPr>
        <p:spPr bwMode="gray">
          <a:xfrm>
            <a:off x="263525" y="1268760"/>
            <a:ext cx="2952155" cy="5076478"/>
          </a:xfrm>
          <a:solidFill>
            <a:srgbClr val="B3B3B3"/>
          </a:solidFill>
        </p:spPr>
        <p:txBody>
          <a:bodyPr lIns="252000" tIns="216000" rIns="252000" bIns="46800"/>
          <a:lstStyle>
            <a:lvl1pPr>
              <a:lnSpc>
                <a:spcPct val="100000"/>
              </a:lnSpc>
              <a:spcBef>
                <a:spcPts val="600"/>
              </a:spcBef>
              <a:defRPr sz="2000" b="1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2000" b="1"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xmlns="" id="{42B434BB-384B-450C-9091-686F6412B5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4" y="187199"/>
            <a:ext cx="8856000" cy="435600"/>
          </a:xfrm>
        </p:spPr>
        <p:txBody>
          <a:bodyPr anchor="ctr">
            <a:no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85AEE6A2-4B6B-4A09-A7D9-F9C49430E5C2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C24EC536-6FE3-4540-8D85-74C58F0BF69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Footer Placeholder 5">
            <a:extLst>
              <a:ext uri="{FF2B5EF4-FFF2-40B4-BE49-F238E27FC236}">
                <a16:creationId xmlns:a16="http://schemas.microsoft.com/office/drawing/2014/main" xmlns="" id="{CC30C0F8-B60E-459E-96E8-998FEC1571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16400" y="6433200"/>
            <a:ext cx="6123600" cy="255600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900"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9098196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3) &amp; Content (6) &amp; Numbers (3) (1.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xmlns="" id="{AD1B31ED-E7F7-4220-8A41-FD0D2DB422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4" y="187199"/>
            <a:ext cx="8856000" cy="435600"/>
          </a:xfrm>
        </p:spPr>
        <p:txBody>
          <a:bodyPr anchor="ctr">
            <a:noAutofit/>
          </a:bodyPr>
          <a:lstStyle>
            <a:lvl1pPr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8" name="Text Placeholder 11">
            <a:extLst>
              <a:ext uri="{FF2B5EF4-FFF2-40B4-BE49-F238E27FC236}">
                <a16:creationId xmlns:a16="http://schemas.microsoft.com/office/drawing/2014/main" xmlns="" id="{D66D41FB-EBBB-45E5-AA8A-76C72AEA4435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>
          <a:xfrm>
            <a:off x="1787157" y="4887774"/>
            <a:ext cx="2134531" cy="1457464"/>
          </a:xfrm>
          <a:solidFill>
            <a:srgbClr val="B3B3B3"/>
          </a:solidFill>
        </p:spPr>
        <p:txBody>
          <a:bodyPr lIns="108000" tIns="108000" rIns="10800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9" name="Text Placeholder 11">
            <a:extLst>
              <a:ext uri="{FF2B5EF4-FFF2-40B4-BE49-F238E27FC236}">
                <a16:creationId xmlns:a16="http://schemas.microsoft.com/office/drawing/2014/main" xmlns="" id="{8EDA41C2-2290-499E-8ACE-371016FB2DDE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>
          <a:xfrm>
            <a:off x="1787157" y="1376172"/>
            <a:ext cx="2134533" cy="1476762"/>
          </a:xfrm>
          <a:solidFill>
            <a:schemeClr val="tx2"/>
          </a:solidFill>
        </p:spPr>
        <p:txBody>
          <a:bodyPr lIns="108000" tIns="108000" rIns="10800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0" name="Text Placeholder 11">
            <a:extLst>
              <a:ext uri="{FF2B5EF4-FFF2-40B4-BE49-F238E27FC236}">
                <a16:creationId xmlns:a16="http://schemas.microsoft.com/office/drawing/2014/main" xmlns="" id="{B9761349-0BC1-4522-9BB5-236A6C6DA2C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>
          <a:xfrm>
            <a:off x="1787158" y="3125396"/>
            <a:ext cx="2134532" cy="1457463"/>
          </a:xfrm>
          <a:solidFill>
            <a:srgbClr val="4D4D4D"/>
          </a:solidFill>
        </p:spPr>
        <p:txBody>
          <a:bodyPr lIns="108000" tIns="108000" rIns="10800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2" name="Content Placeholder 3">
            <a:extLst>
              <a:ext uri="{FF2B5EF4-FFF2-40B4-BE49-F238E27FC236}">
                <a16:creationId xmlns:a16="http://schemas.microsoft.com/office/drawing/2014/main" xmlns="" id="{8639E75B-2B3B-453D-A5CE-4B15CE535425}"/>
              </a:ext>
            </a:extLst>
          </p:cNvPr>
          <p:cNvSpPr>
            <a:spLocks noGrp="1"/>
          </p:cNvSpPr>
          <p:nvPr>
            <p:ph sz="quarter" idx="29"/>
          </p:nvPr>
        </p:nvSpPr>
        <p:spPr bwMode="gray">
          <a:xfrm>
            <a:off x="4160766" y="1376172"/>
            <a:ext cx="7754326" cy="1476762"/>
          </a:xfrm>
        </p:spPr>
        <p:txBody>
          <a:bodyPr lIns="0" tIns="108000" rIns="0" bIns="0"/>
          <a:lstStyle>
            <a:lvl1pPr>
              <a:lnSpc>
                <a:spcPct val="100000"/>
              </a:lnSpc>
              <a:spcBef>
                <a:spcPts val="600"/>
              </a:spcBef>
              <a:defRPr sz="1200"/>
            </a:lvl1pPr>
            <a:lvl2pPr>
              <a:lnSpc>
                <a:spcPct val="100000"/>
              </a:lnSpc>
              <a:spcBef>
                <a:spcPts val="600"/>
              </a:spcBef>
              <a:defRPr sz="1200"/>
            </a:lvl2pPr>
            <a:lvl3pPr>
              <a:lnSpc>
                <a:spcPct val="100000"/>
              </a:lnSpc>
              <a:spcBef>
                <a:spcPts val="600"/>
              </a:spcBef>
              <a:defRPr sz="1200"/>
            </a:lvl3pPr>
            <a:lvl4pPr>
              <a:lnSpc>
                <a:spcPct val="100000"/>
              </a:lnSpc>
              <a:spcBef>
                <a:spcPts val="600"/>
              </a:spcBef>
              <a:defRPr sz="1200"/>
            </a:lvl4pPr>
            <a:lvl5pPr>
              <a:lnSpc>
                <a:spcPct val="100000"/>
              </a:lnSpc>
              <a:spcBef>
                <a:spcPts val="600"/>
              </a:spcBef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3" name="Content Placeholder 3">
            <a:extLst>
              <a:ext uri="{FF2B5EF4-FFF2-40B4-BE49-F238E27FC236}">
                <a16:creationId xmlns:a16="http://schemas.microsoft.com/office/drawing/2014/main" xmlns="" id="{3F549D67-9CCF-403B-9844-74DA91D73AD4}"/>
              </a:ext>
            </a:extLst>
          </p:cNvPr>
          <p:cNvSpPr>
            <a:spLocks noGrp="1"/>
          </p:cNvSpPr>
          <p:nvPr>
            <p:ph sz="quarter" idx="30"/>
          </p:nvPr>
        </p:nvSpPr>
        <p:spPr bwMode="gray">
          <a:xfrm>
            <a:off x="4160766" y="3125397"/>
            <a:ext cx="7754326" cy="1457464"/>
          </a:xfrm>
        </p:spPr>
        <p:txBody>
          <a:bodyPr lIns="0" tIns="108000" rIns="0" bIns="0"/>
          <a:lstStyle>
            <a:lvl1pPr>
              <a:lnSpc>
                <a:spcPct val="100000"/>
              </a:lnSpc>
              <a:spcBef>
                <a:spcPts val="600"/>
              </a:spcBef>
              <a:defRPr sz="1200"/>
            </a:lvl1pPr>
            <a:lvl2pPr>
              <a:lnSpc>
                <a:spcPct val="100000"/>
              </a:lnSpc>
              <a:spcBef>
                <a:spcPts val="600"/>
              </a:spcBef>
              <a:defRPr sz="1200"/>
            </a:lvl2pPr>
            <a:lvl3pPr>
              <a:lnSpc>
                <a:spcPct val="100000"/>
              </a:lnSpc>
              <a:spcBef>
                <a:spcPts val="600"/>
              </a:spcBef>
              <a:defRPr sz="1200"/>
            </a:lvl3pPr>
            <a:lvl4pPr>
              <a:lnSpc>
                <a:spcPct val="100000"/>
              </a:lnSpc>
              <a:spcBef>
                <a:spcPts val="600"/>
              </a:spcBef>
              <a:defRPr sz="1200"/>
            </a:lvl4pPr>
            <a:lvl5pPr>
              <a:lnSpc>
                <a:spcPct val="100000"/>
              </a:lnSpc>
              <a:spcBef>
                <a:spcPts val="600"/>
              </a:spcBef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4" name="Content Placeholder 3">
            <a:extLst>
              <a:ext uri="{FF2B5EF4-FFF2-40B4-BE49-F238E27FC236}">
                <a16:creationId xmlns:a16="http://schemas.microsoft.com/office/drawing/2014/main" xmlns="" id="{5764BC31-84F6-4F9C-950F-1DB463181F61}"/>
              </a:ext>
            </a:extLst>
          </p:cNvPr>
          <p:cNvSpPr>
            <a:spLocks noGrp="1"/>
          </p:cNvSpPr>
          <p:nvPr>
            <p:ph sz="quarter" idx="31"/>
          </p:nvPr>
        </p:nvSpPr>
        <p:spPr bwMode="gray">
          <a:xfrm>
            <a:off x="4160766" y="4887774"/>
            <a:ext cx="7754326" cy="1457464"/>
          </a:xfrm>
        </p:spPr>
        <p:txBody>
          <a:bodyPr lIns="0" tIns="108000" rIns="0" bIns="0"/>
          <a:lstStyle>
            <a:lvl1pPr>
              <a:lnSpc>
                <a:spcPct val="100000"/>
              </a:lnSpc>
              <a:spcBef>
                <a:spcPts val="600"/>
              </a:spcBef>
              <a:defRPr sz="1200"/>
            </a:lvl1pPr>
            <a:lvl2pPr>
              <a:lnSpc>
                <a:spcPct val="100000"/>
              </a:lnSpc>
              <a:spcBef>
                <a:spcPts val="600"/>
              </a:spcBef>
              <a:defRPr sz="1200"/>
            </a:lvl2pPr>
            <a:lvl3pPr>
              <a:lnSpc>
                <a:spcPct val="100000"/>
              </a:lnSpc>
              <a:spcBef>
                <a:spcPts val="600"/>
              </a:spcBef>
              <a:defRPr sz="1200"/>
            </a:lvl3pPr>
            <a:lvl4pPr>
              <a:lnSpc>
                <a:spcPct val="100000"/>
              </a:lnSpc>
              <a:spcBef>
                <a:spcPts val="600"/>
              </a:spcBef>
              <a:defRPr sz="1200"/>
            </a:lvl4pPr>
            <a:lvl5pPr>
              <a:lnSpc>
                <a:spcPct val="100000"/>
              </a:lnSpc>
              <a:spcBef>
                <a:spcPts val="600"/>
              </a:spcBef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5" name="Content Placeholder 6">
            <a:extLst>
              <a:ext uri="{FF2B5EF4-FFF2-40B4-BE49-F238E27FC236}">
                <a16:creationId xmlns:a16="http://schemas.microsoft.com/office/drawing/2014/main" xmlns="" id="{241EB6F0-A5E9-49D0-9344-731EBEC9A4F8}"/>
              </a:ext>
            </a:extLst>
          </p:cNvPr>
          <p:cNvSpPr>
            <a:spLocks noGrp="1"/>
          </p:cNvSpPr>
          <p:nvPr>
            <p:ph sz="quarter" idx="43" hasCustomPrompt="1"/>
          </p:nvPr>
        </p:nvSpPr>
        <p:spPr>
          <a:xfrm>
            <a:off x="263526" y="1376363"/>
            <a:ext cx="1512000" cy="943200"/>
          </a:xfrm>
          <a:prstGeom prst="rect">
            <a:avLst/>
          </a:prstGeom>
          <a:noFill/>
        </p:spPr>
        <p:txBody>
          <a:bodyPr tIns="0" anchor="t" anchorCtr="0"/>
          <a:lstStyle>
            <a:lvl1pPr algn="l">
              <a:spcBef>
                <a:spcPts val="0"/>
              </a:spcBef>
              <a:defRPr sz="6600" b="1">
                <a:solidFill>
                  <a:schemeClr val="tx2"/>
                </a:solidFill>
                <a:latin typeface="+mn-lt"/>
                <a:ea typeface="ABBvoice" panose="020D0603020503020204" pitchFamily="34" charset="0"/>
                <a:cs typeface="ABBvoice" panose="020D0603020503020204" pitchFamily="34" charset="0"/>
              </a:defRPr>
            </a:lvl1pPr>
          </a:lstStyle>
          <a:p>
            <a:pPr lvl="0"/>
            <a:r>
              <a:rPr lang="en-US" dirty="0"/>
              <a:t>0</a:t>
            </a:r>
            <a:r>
              <a:rPr lang="pl-PL" dirty="0"/>
              <a:t>1</a:t>
            </a:r>
            <a:r>
              <a:rPr lang="en-US" dirty="0"/>
              <a:t>.</a:t>
            </a:r>
            <a:endParaRPr lang="en-GB" dirty="0"/>
          </a:p>
        </p:txBody>
      </p:sp>
      <p:sp>
        <p:nvSpPr>
          <p:cNvPr id="56" name="Content Placeholder 6">
            <a:extLst>
              <a:ext uri="{FF2B5EF4-FFF2-40B4-BE49-F238E27FC236}">
                <a16:creationId xmlns:a16="http://schemas.microsoft.com/office/drawing/2014/main" xmlns="" id="{35D6B1E9-843A-44D2-9E4F-5AA45F978A8E}"/>
              </a:ext>
            </a:extLst>
          </p:cNvPr>
          <p:cNvSpPr>
            <a:spLocks noGrp="1"/>
          </p:cNvSpPr>
          <p:nvPr>
            <p:ph sz="quarter" idx="44" hasCustomPrompt="1"/>
          </p:nvPr>
        </p:nvSpPr>
        <p:spPr>
          <a:xfrm>
            <a:off x="276908" y="3132069"/>
            <a:ext cx="1512000" cy="943200"/>
          </a:xfrm>
          <a:prstGeom prst="rect">
            <a:avLst/>
          </a:prstGeom>
          <a:noFill/>
        </p:spPr>
        <p:txBody>
          <a:bodyPr tIns="0" anchor="t" anchorCtr="0"/>
          <a:lstStyle>
            <a:lvl1pPr algn="l">
              <a:spcBef>
                <a:spcPts val="0"/>
              </a:spcBef>
              <a:defRPr sz="6600" b="1">
                <a:solidFill>
                  <a:srgbClr val="4D4D4D"/>
                </a:solidFill>
                <a:latin typeface="+mn-lt"/>
                <a:ea typeface="ABBvoice" panose="020D0603020503020204" pitchFamily="34" charset="0"/>
                <a:cs typeface="ABBvoice" panose="020D0603020503020204" pitchFamily="34" charset="0"/>
              </a:defRPr>
            </a:lvl1pPr>
          </a:lstStyle>
          <a:p>
            <a:pPr lvl="0"/>
            <a:r>
              <a:rPr lang="en-US" dirty="0"/>
              <a:t>0</a:t>
            </a:r>
            <a:r>
              <a:rPr lang="pl-PL" dirty="0"/>
              <a:t>2</a:t>
            </a:r>
            <a:r>
              <a:rPr lang="en-US" dirty="0"/>
              <a:t>.</a:t>
            </a:r>
            <a:endParaRPr lang="en-GB" dirty="0"/>
          </a:p>
        </p:txBody>
      </p:sp>
      <p:sp>
        <p:nvSpPr>
          <p:cNvPr id="57" name="Content Placeholder 6">
            <a:extLst>
              <a:ext uri="{FF2B5EF4-FFF2-40B4-BE49-F238E27FC236}">
                <a16:creationId xmlns:a16="http://schemas.microsoft.com/office/drawing/2014/main" xmlns="" id="{8EA1DB4F-027D-4DCE-81D8-A7E251902E5A}"/>
              </a:ext>
            </a:extLst>
          </p:cNvPr>
          <p:cNvSpPr>
            <a:spLocks noGrp="1"/>
          </p:cNvSpPr>
          <p:nvPr>
            <p:ph sz="quarter" idx="45" hasCustomPrompt="1"/>
          </p:nvPr>
        </p:nvSpPr>
        <p:spPr>
          <a:xfrm>
            <a:off x="276908" y="4887774"/>
            <a:ext cx="1512000" cy="943200"/>
          </a:xfrm>
          <a:prstGeom prst="rect">
            <a:avLst/>
          </a:prstGeom>
          <a:noFill/>
        </p:spPr>
        <p:txBody>
          <a:bodyPr tIns="0" anchor="t" anchorCtr="0"/>
          <a:lstStyle>
            <a:lvl1pPr algn="l">
              <a:spcBef>
                <a:spcPts val="0"/>
              </a:spcBef>
              <a:defRPr sz="6600" b="1">
                <a:solidFill>
                  <a:srgbClr val="B3B3B3"/>
                </a:solidFill>
                <a:latin typeface="+mn-lt"/>
                <a:ea typeface="ABBvoice" panose="020D0603020503020204" pitchFamily="34" charset="0"/>
                <a:cs typeface="ABBvoice" panose="020D0603020503020204" pitchFamily="34" charset="0"/>
              </a:defRPr>
            </a:lvl1pPr>
          </a:lstStyle>
          <a:p>
            <a:pPr lvl="0"/>
            <a:r>
              <a:rPr lang="en-US" dirty="0"/>
              <a:t>0</a:t>
            </a:r>
            <a:r>
              <a:rPr lang="pl-PL" dirty="0"/>
              <a:t>3</a:t>
            </a:r>
            <a:r>
              <a:rPr lang="en-US" dirty="0"/>
              <a:t>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D603C7F9-F2C0-4B89-AFD9-9B6659A7406F}"/>
              </a:ext>
            </a:extLst>
          </p:cNvPr>
          <p:cNvSpPr>
            <a:spLocks noGrp="1"/>
          </p:cNvSpPr>
          <p:nvPr>
            <p:ph type="sldNum" sz="quarter" idx="47"/>
          </p:nvPr>
        </p:nvSpPr>
        <p:spPr/>
        <p:txBody>
          <a:bodyPr/>
          <a:lstStyle/>
          <a:p>
            <a:fld id="{C24EC536-6FE3-4540-8D85-74C58F0BF69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Footer Placeholder 5">
            <a:extLst>
              <a:ext uri="{FF2B5EF4-FFF2-40B4-BE49-F238E27FC236}">
                <a16:creationId xmlns:a16="http://schemas.microsoft.com/office/drawing/2014/main" xmlns="" id="{F66301D0-3E1E-4551-B9DA-012B69A86F5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16400" y="6433200"/>
            <a:ext cx="6123600" cy="255600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900"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8007635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3) &amp; Content (3) &amp; Numbers (3) &amp; Box (1.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xmlns="" id="{AD1B31ED-E7F7-4220-8A41-FD0D2DB422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4" y="187199"/>
            <a:ext cx="8856000" cy="435600"/>
          </a:xfrm>
        </p:spPr>
        <p:txBody>
          <a:bodyPr anchor="ctr">
            <a:noAutofit/>
          </a:bodyPr>
          <a:lstStyle>
            <a:lvl1pPr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8" name="Text Placeholder 11">
            <a:extLst>
              <a:ext uri="{FF2B5EF4-FFF2-40B4-BE49-F238E27FC236}">
                <a16:creationId xmlns:a16="http://schemas.microsoft.com/office/drawing/2014/main" xmlns="" id="{D66D41FB-EBBB-45E5-AA8A-76C72AEA4435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>
          <a:xfrm>
            <a:off x="1787157" y="4303084"/>
            <a:ext cx="2134531" cy="1294301"/>
          </a:xfrm>
          <a:solidFill>
            <a:srgbClr val="B3B3B3"/>
          </a:solidFill>
        </p:spPr>
        <p:txBody>
          <a:bodyPr lIns="108000" tIns="108000" rIns="10800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9" name="Text Placeholder 11">
            <a:extLst>
              <a:ext uri="{FF2B5EF4-FFF2-40B4-BE49-F238E27FC236}">
                <a16:creationId xmlns:a16="http://schemas.microsoft.com/office/drawing/2014/main" xmlns="" id="{8EDA41C2-2290-499E-8ACE-371016FB2DDE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>
          <a:xfrm>
            <a:off x="1787157" y="1376172"/>
            <a:ext cx="2134533" cy="1311439"/>
          </a:xfrm>
          <a:solidFill>
            <a:schemeClr val="tx2"/>
          </a:solidFill>
        </p:spPr>
        <p:txBody>
          <a:bodyPr lIns="108000" tIns="108000" rIns="10800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0" name="Text Placeholder 11">
            <a:extLst>
              <a:ext uri="{FF2B5EF4-FFF2-40B4-BE49-F238E27FC236}">
                <a16:creationId xmlns:a16="http://schemas.microsoft.com/office/drawing/2014/main" xmlns="" id="{B9761349-0BC1-4522-9BB5-236A6C6DA2C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>
          <a:xfrm>
            <a:off x="1787158" y="2863929"/>
            <a:ext cx="2134532" cy="1294300"/>
          </a:xfrm>
          <a:solidFill>
            <a:srgbClr val="4D4D4D"/>
          </a:solidFill>
        </p:spPr>
        <p:txBody>
          <a:bodyPr lIns="108000" tIns="108000" rIns="10800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2" name="Content Placeholder 3">
            <a:extLst>
              <a:ext uri="{FF2B5EF4-FFF2-40B4-BE49-F238E27FC236}">
                <a16:creationId xmlns:a16="http://schemas.microsoft.com/office/drawing/2014/main" xmlns="" id="{8639E75B-2B3B-453D-A5CE-4B15CE535425}"/>
              </a:ext>
            </a:extLst>
          </p:cNvPr>
          <p:cNvSpPr>
            <a:spLocks noGrp="1"/>
          </p:cNvSpPr>
          <p:nvPr>
            <p:ph sz="quarter" idx="29"/>
          </p:nvPr>
        </p:nvSpPr>
        <p:spPr bwMode="gray">
          <a:xfrm>
            <a:off x="4160766" y="1376172"/>
            <a:ext cx="7754326" cy="1311439"/>
          </a:xfrm>
        </p:spPr>
        <p:txBody>
          <a:bodyPr lIns="0" tIns="108000" rIns="0" bIns="0"/>
          <a:lstStyle>
            <a:lvl1pPr>
              <a:lnSpc>
                <a:spcPct val="100000"/>
              </a:lnSpc>
              <a:spcBef>
                <a:spcPts val="600"/>
              </a:spcBef>
              <a:defRPr sz="1200"/>
            </a:lvl1pPr>
            <a:lvl2pPr>
              <a:lnSpc>
                <a:spcPct val="100000"/>
              </a:lnSpc>
              <a:spcBef>
                <a:spcPts val="600"/>
              </a:spcBef>
              <a:defRPr sz="1200"/>
            </a:lvl2pPr>
            <a:lvl3pPr>
              <a:lnSpc>
                <a:spcPct val="100000"/>
              </a:lnSpc>
              <a:spcBef>
                <a:spcPts val="600"/>
              </a:spcBef>
              <a:defRPr sz="1200"/>
            </a:lvl3pPr>
            <a:lvl4pPr>
              <a:lnSpc>
                <a:spcPct val="100000"/>
              </a:lnSpc>
              <a:spcBef>
                <a:spcPts val="600"/>
              </a:spcBef>
              <a:defRPr sz="1200"/>
            </a:lvl4pPr>
            <a:lvl5pPr>
              <a:lnSpc>
                <a:spcPct val="100000"/>
              </a:lnSpc>
              <a:spcBef>
                <a:spcPts val="600"/>
              </a:spcBef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3" name="Content Placeholder 3">
            <a:extLst>
              <a:ext uri="{FF2B5EF4-FFF2-40B4-BE49-F238E27FC236}">
                <a16:creationId xmlns:a16="http://schemas.microsoft.com/office/drawing/2014/main" xmlns="" id="{3F549D67-9CCF-403B-9844-74DA91D73AD4}"/>
              </a:ext>
            </a:extLst>
          </p:cNvPr>
          <p:cNvSpPr>
            <a:spLocks noGrp="1"/>
          </p:cNvSpPr>
          <p:nvPr>
            <p:ph sz="quarter" idx="30"/>
          </p:nvPr>
        </p:nvSpPr>
        <p:spPr bwMode="gray">
          <a:xfrm>
            <a:off x="4160766" y="2863928"/>
            <a:ext cx="7754326" cy="1294301"/>
          </a:xfrm>
        </p:spPr>
        <p:txBody>
          <a:bodyPr lIns="0" tIns="108000" rIns="0" bIns="0"/>
          <a:lstStyle>
            <a:lvl1pPr>
              <a:lnSpc>
                <a:spcPct val="100000"/>
              </a:lnSpc>
              <a:spcBef>
                <a:spcPts val="600"/>
              </a:spcBef>
              <a:defRPr sz="1200"/>
            </a:lvl1pPr>
            <a:lvl2pPr>
              <a:lnSpc>
                <a:spcPct val="100000"/>
              </a:lnSpc>
              <a:spcBef>
                <a:spcPts val="600"/>
              </a:spcBef>
              <a:defRPr sz="1200"/>
            </a:lvl2pPr>
            <a:lvl3pPr>
              <a:lnSpc>
                <a:spcPct val="100000"/>
              </a:lnSpc>
              <a:spcBef>
                <a:spcPts val="600"/>
              </a:spcBef>
              <a:defRPr sz="1200"/>
            </a:lvl3pPr>
            <a:lvl4pPr>
              <a:lnSpc>
                <a:spcPct val="100000"/>
              </a:lnSpc>
              <a:spcBef>
                <a:spcPts val="600"/>
              </a:spcBef>
              <a:defRPr sz="1200"/>
            </a:lvl4pPr>
            <a:lvl5pPr>
              <a:lnSpc>
                <a:spcPct val="100000"/>
              </a:lnSpc>
              <a:spcBef>
                <a:spcPts val="600"/>
              </a:spcBef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4" name="Content Placeholder 3">
            <a:extLst>
              <a:ext uri="{FF2B5EF4-FFF2-40B4-BE49-F238E27FC236}">
                <a16:creationId xmlns:a16="http://schemas.microsoft.com/office/drawing/2014/main" xmlns="" id="{5764BC31-84F6-4F9C-950F-1DB463181F61}"/>
              </a:ext>
            </a:extLst>
          </p:cNvPr>
          <p:cNvSpPr>
            <a:spLocks noGrp="1"/>
          </p:cNvSpPr>
          <p:nvPr>
            <p:ph sz="quarter" idx="31"/>
          </p:nvPr>
        </p:nvSpPr>
        <p:spPr bwMode="gray">
          <a:xfrm>
            <a:off x="4160766" y="4303084"/>
            <a:ext cx="7754326" cy="1294301"/>
          </a:xfrm>
        </p:spPr>
        <p:txBody>
          <a:bodyPr lIns="0" tIns="108000" rIns="0" bIns="0"/>
          <a:lstStyle>
            <a:lvl1pPr>
              <a:lnSpc>
                <a:spcPct val="100000"/>
              </a:lnSpc>
              <a:spcBef>
                <a:spcPts val="600"/>
              </a:spcBef>
              <a:defRPr sz="1200"/>
            </a:lvl1pPr>
            <a:lvl2pPr>
              <a:lnSpc>
                <a:spcPct val="100000"/>
              </a:lnSpc>
              <a:spcBef>
                <a:spcPts val="600"/>
              </a:spcBef>
              <a:defRPr sz="1200"/>
            </a:lvl2pPr>
            <a:lvl3pPr>
              <a:lnSpc>
                <a:spcPct val="100000"/>
              </a:lnSpc>
              <a:spcBef>
                <a:spcPts val="600"/>
              </a:spcBef>
              <a:defRPr sz="1200"/>
            </a:lvl3pPr>
            <a:lvl4pPr>
              <a:lnSpc>
                <a:spcPct val="100000"/>
              </a:lnSpc>
              <a:spcBef>
                <a:spcPts val="600"/>
              </a:spcBef>
              <a:defRPr sz="1200"/>
            </a:lvl4pPr>
            <a:lvl5pPr>
              <a:lnSpc>
                <a:spcPct val="100000"/>
              </a:lnSpc>
              <a:spcBef>
                <a:spcPts val="600"/>
              </a:spcBef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5" name="Content Placeholder 6">
            <a:extLst>
              <a:ext uri="{FF2B5EF4-FFF2-40B4-BE49-F238E27FC236}">
                <a16:creationId xmlns:a16="http://schemas.microsoft.com/office/drawing/2014/main" xmlns="" id="{241EB6F0-A5E9-49D0-9344-731EBEC9A4F8}"/>
              </a:ext>
            </a:extLst>
          </p:cNvPr>
          <p:cNvSpPr>
            <a:spLocks noGrp="1"/>
          </p:cNvSpPr>
          <p:nvPr>
            <p:ph sz="quarter" idx="43" hasCustomPrompt="1"/>
          </p:nvPr>
        </p:nvSpPr>
        <p:spPr>
          <a:xfrm>
            <a:off x="263526" y="1376363"/>
            <a:ext cx="1512000" cy="943200"/>
          </a:xfrm>
          <a:prstGeom prst="rect">
            <a:avLst/>
          </a:prstGeom>
          <a:noFill/>
        </p:spPr>
        <p:txBody>
          <a:bodyPr tIns="0" anchor="t" anchorCtr="0"/>
          <a:lstStyle>
            <a:lvl1pPr algn="l">
              <a:spcBef>
                <a:spcPts val="0"/>
              </a:spcBef>
              <a:defRPr sz="6600" b="1">
                <a:solidFill>
                  <a:schemeClr val="tx2"/>
                </a:solidFill>
                <a:latin typeface="+mn-lt"/>
                <a:ea typeface="ABBvoice" panose="020D0603020503020204" pitchFamily="34" charset="0"/>
                <a:cs typeface="ABBvoice" panose="020D0603020503020204" pitchFamily="34" charset="0"/>
              </a:defRPr>
            </a:lvl1pPr>
          </a:lstStyle>
          <a:p>
            <a:pPr lvl="0"/>
            <a:r>
              <a:rPr lang="en-US" dirty="0"/>
              <a:t>0</a:t>
            </a:r>
            <a:r>
              <a:rPr lang="pl-PL" dirty="0"/>
              <a:t>1</a:t>
            </a:r>
            <a:r>
              <a:rPr lang="en-US" dirty="0"/>
              <a:t>.</a:t>
            </a:r>
            <a:endParaRPr lang="en-GB" dirty="0"/>
          </a:p>
        </p:txBody>
      </p:sp>
      <p:sp>
        <p:nvSpPr>
          <p:cNvPr id="56" name="Content Placeholder 6">
            <a:extLst>
              <a:ext uri="{FF2B5EF4-FFF2-40B4-BE49-F238E27FC236}">
                <a16:creationId xmlns:a16="http://schemas.microsoft.com/office/drawing/2014/main" xmlns="" id="{35D6B1E9-843A-44D2-9E4F-5AA45F978A8E}"/>
              </a:ext>
            </a:extLst>
          </p:cNvPr>
          <p:cNvSpPr>
            <a:spLocks noGrp="1"/>
          </p:cNvSpPr>
          <p:nvPr>
            <p:ph sz="quarter" idx="44" hasCustomPrompt="1"/>
          </p:nvPr>
        </p:nvSpPr>
        <p:spPr>
          <a:xfrm>
            <a:off x="276908" y="2863928"/>
            <a:ext cx="1512000" cy="943200"/>
          </a:xfrm>
          <a:prstGeom prst="rect">
            <a:avLst/>
          </a:prstGeom>
          <a:noFill/>
        </p:spPr>
        <p:txBody>
          <a:bodyPr tIns="0" anchor="t" anchorCtr="0"/>
          <a:lstStyle>
            <a:lvl1pPr algn="l">
              <a:spcBef>
                <a:spcPts val="0"/>
              </a:spcBef>
              <a:defRPr sz="6600" b="1">
                <a:solidFill>
                  <a:srgbClr val="4D4D4D"/>
                </a:solidFill>
                <a:latin typeface="+mn-lt"/>
                <a:ea typeface="ABBvoice" panose="020D0603020503020204" pitchFamily="34" charset="0"/>
                <a:cs typeface="ABBvoice" panose="020D0603020503020204" pitchFamily="34" charset="0"/>
              </a:defRPr>
            </a:lvl1pPr>
          </a:lstStyle>
          <a:p>
            <a:pPr lvl="0"/>
            <a:r>
              <a:rPr lang="en-US" dirty="0"/>
              <a:t>0</a:t>
            </a:r>
            <a:r>
              <a:rPr lang="pl-PL" dirty="0"/>
              <a:t>2</a:t>
            </a:r>
            <a:r>
              <a:rPr lang="en-US" dirty="0"/>
              <a:t>.</a:t>
            </a:r>
            <a:endParaRPr lang="en-GB" dirty="0"/>
          </a:p>
        </p:txBody>
      </p:sp>
      <p:sp>
        <p:nvSpPr>
          <p:cNvPr id="57" name="Content Placeholder 6">
            <a:extLst>
              <a:ext uri="{FF2B5EF4-FFF2-40B4-BE49-F238E27FC236}">
                <a16:creationId xmlns:a16="http://schemas.microsoft.com/office/drawing/2014/main" xmlns="" id="{8EA1DB4F-027D-4DCE-81D8-A7E251902E5A}"/>
              </a:ext>
            </a:extLst>
          </p:cNvPr>
          <p:cNvSpPr>
            <a:spLocks noGrp="1"/>
          </p:cNvSpPr>
          <p:nvPr>
            <p:ph sz="quarter" idx="45" hasCustomPrompt="1"/>
          </p:nvPr>
        </p:nvSpPr>
        <p:spPr>
          <a:xfrm>
            <a:off x="276908" y="4303084"/>
            <a:ext cx="1512000" cy="943200"/>
          </a:xfrm>
          <a:prstGeom prst="rect">
            <a:avLst/>
          </a:prstGeom>
          <a:noFill/>
        </p:spPr>
        <p:txBody>
          <a:bodyPr tIns="0" anchor="t" anchorCtr="0"/>
          <a:lstStyle>
            <a:lvl1pPr algn="l">
              <a:spcBef>
                <a:spcPts val="0"/>
              </a:spcBef>
              <a:defRPr sz="6600" b="1">
                <a:solidFill>
                  <a:srgbClr val="B3B3B3"/>
                </a:solidFill>
                <a:latin typeface="+mn-lt"/>
                <a:ea typeface="ABBvoice" panose="020D0603020503020204" pitchFamily="34" charset="0"/>
                <a:cs typeface="ABBvoice" panose="020D0603020503020204" pitchFamily="34" charset="0"/>
              </a:defRPr>
            </a:lvl1pPr>
          </a:lstStyle>
          <a:p>
            <a:pPr lvl="0"/>
            <a:r>
              <a:rPr lang="en-US" dirty="0"/>
              <a:t>0</a:t>
            </a:r>
            <a:r>
              <a:rPr lang="pl-PL" dirty="0"/>
              <a:t>3</a:t>
            </a:r>
            <a:r>
              <a:rPr lang="en-US" dirty="0"/>
              <a:t>.</a:t>
            </a:r>
            <a:endParaRPr lang="en-GB" dirty="0"/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xmlns="" id="{D3D5E6C0-AC7A-4306-8846-16E5BB9FA9E1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 bwMode="gray">
          <a:xfrm>
            <a:off x="0" y="5805264"/>
            <a:ext cx="12192000" cy="539974"/>
          </a:xfrm>
          <a:solidFill>
            <a:srgbClr val="D9D9D9"/>
          </a:solidFill>
        </p:spPr>
        <p:txBody>
          <a:bodyPr lIns="252000" tIns="0" rIns="25200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2E1FB1E0-9A33-4316-976D-4A3580575DA7}"/>
              </a:ext>
            </a:extLst>
          </p:cNvPr>
          <p:cNvSpPr>
            <a:spLocks noGrp="1"/>
          </p:cNvSpPr>
          <p:nvPr>
            <p:ph type="sldNum" sz="quarter" idx="48"/>
          </p:nvPr>
        </p:nvSpPr>
        <p:spPr/>
        <p:txBody>
          <a:bodyPr/>
          <a:lstStyle/>
          <a:p>
            <a:fld id="{C24EC536-6FE3-4540-8D85-74C58F0BF69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Footer Placeholder 5">
            <a:extLst>
              <a:ext uri="{FF2B5EF4-FFF2-40B4-BE49-F238E27FC236}">
                <a16:creationId xmlns:a16="http://schemas.microsoft.com/office/drawing/2014/main" xmlns="" id="{CB48DD37-A091-48B5-B39F-E7F26495268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16400" y="6433200"/>
            <a:ext cx="6123600" cy="255600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900"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50263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9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xmlns="" id="{AD1B31ED-E7F7-4220-8A41-FD0D2DB422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4" y="187199"/>
            <a:ext cx="8856000" cy="435600"/>
          </a:xfrm>
        </p:spPr>
        <p:txBody>
          <a:bodyPr anchor="ctr">
            <a:noAutofit/>
          </a:bodyPr>
          <a:lstStyle>
            <a:lvl1pPr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9" name="Text Placeholder 11">
            <a:extLst>
              <a:ext uri="{FF2B5EF4-FFF2-40B4-BE49-F238E27FC236}">
                <a16:creationId xmlns:a16="http://schemas.microsoft.com/office/drawing/2014/main" xmlns="" id="{9C59FB2E-26EE-4C62-96FC-DAC9216CD4A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>
          <a:xfrm>
            <a:off x="263525" y="4887774"/>
            <a:ext cx="2952153" cy="1457464"/>
          </a:xfrm>
          <a:solidFill>
            <a:srgbClr val="B3B3B3"/>
          </a:solidFill>
        </p:spPr>
        <p:txBody>
          <a:bodyPr lIns="108000" tIns="108000" rIns="10800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11">
            <a:extLst>
              <a:ext uri="{FF2B5EF4-FFF2-40B4-BE49-F238E27FC236}">
                <a16:creationId xmlns:a16="http://schemas.microsoft.com/office/drawing/2014/main" xmlns="" id="{E2E51721-D2A7-43F7-AE5D-32351049CC4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>
          <a:xfrm>
            <a:off x="263525" y="1376172"/>
            <a:ext cx="2952156" cy="1476762"/>
          </a:xfrm>
          <a:solidFill>
            <a:schemeClr val="tx2"/>
          </a:solidFill>
        </p:spPr>
        <p:txBody>
          <a:bodyPr lIns="108000" tIns="108000" rIns="10800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 Placeholder 11">
            <a:extLst>
              <a:ext uri="{FF2B5EF4-FFF2-40B4-BE49-F238E27FC236}">
                <a16:creationId xmlns:a16="http://schemas.microsoft.com/office/drawing/2014/main" xmlns="" id="{3119F755-6EE0-4D98-8C45-43092D7CA75A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>
          <a:xfrm>
            <a:off x="263523" y="3141623"/>
            <a:ext cx="2952155" cy="1457463"/>
          </a:xfrm>
          <a:solidFill>
            <a:srgbClr val="4D4D4D"/>
          </a:solidFill>
        </p:spPr>
        <p:txBody>
          <a:bodyPr lIns="108000" tIns="108000" rIns="10800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Content Placeholder 3">
            <a:extLst>
              <a:ext uri="{FF2B5EF4-FFF2-40B4-BE49-F238E27FC236}">
                <a16:creationId xmlns:a16="http://schemas.microsoft.com/office/drawing/2014/main" xmlns="" id="{8409A613-09A4-42FF-A74A-7A69B8896E14}"/>
              </a:ext>
            </a:extLst>
          </p:cNvPr>
          <p:cNvSpPr>
            <a:spLocks noGrp="1"/>
          </p:cNvSpPr>
          <p:nvPr>
            <p:ph sz="quarter" idx="29"/>
          </p:nvPr>
        </p:nvSpPr>
        <p:spPr bwMode="gray">
          <a:xfrm>
            <a:off x="3211201" y="1376172"/>
            <a:ext cx="4385354" cy="1476762"/>
          </a:xfrm>
          <a:solidFill>
            <a:srgbClr val="D9D9D9"/>
          </a:solidFill>
        </p:spPr>
        <p:txBody>
          <a:bodyPr lIns="108000" tIns="108000" rIns="108000" bIns="108000"/>
          <a:lstStyle>
            <a:lvl1pPr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6" name="Content Placeholder 3">
            <a:extLst>
              <a:ext uri="{FF2B5EF4-FFF2-40B4-BE49-F238E27FC236}">
                <a16:creationId xmlns:a16="http://schemas.microsoft.com/office/drawing/2014/main" xmlns="" id="{004768D5-0EB9-4F5E-BAF5-E0A18FAD9394}"/>
              </a:ext>
            </a:extLst>
          </p:cNvPr>
          <p:cNvSpPr>
            <a:spLocks noGrp="1"/>
          </p:cNvSpPr>
          <p:nvPr>
            <p:ph sz="quarter" idx="30"/>
          </p:nvPr>
        </p:nvSpPr>
        <p:spPr bwMode="gray">
          <a:xfrm>
            <a:off x="3211200" y="3141622"/>
            <a:ext cx="4385355" cy="1457464"/>
          </a:xfrm>
          <a:solidFill>
            <a:srgbClr val="D9D9D9"/>
          </a:solidFill>
        </p:spPr>
        <p:txBody>
          <a:bodyPr lIns="108000" tIns="108000" rIns="108000" bIns="108000"/>
          <a:lstStyle>
            <a:lvl1pPr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7" name="Content Placeholder 3">
            <a:extLst>
              <a:ext uri="{FF2B5EF4-FFF2-40B4-BE49-F238E27FC236}">
                <a16:creationId xmlns:a16="http://schemas.microsoft.com/office/drawing/2014/main" xmlns="" id="{B5A965DB-21DC-41B0-8898-D546D54A6055}"/>
              </a:ext>
            </a:extLst>
          </p:cNvPr>
          <p:cNvSpPr>
            <a:spLocks noGrp="1"/>
          </p:cNvSpPr>
          <p:nvPr>
            <p:ph sz="quarter" idx="31"/>
          </p:nvPr>
        </p:nvSpPr>
        <p:spPr bwMode="gray">
          <a:xfrm>
            <a:off x="3211200" y="4887774"/>
            <a:ext cx="4385355" cy="1457464"/>
          </a:xfrm>
          <a:solidFill>
            <a:srgbClr val="D9D9D9"/>
          </a:solidFill>
        </p:spPr>
        <p:txBody>
          <a:bodyPr lIns="108000" tIns="108000" rIns="108000" bIns="108000"/>
          <a:lstStyle>
            <a:lvl1pPr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1" name="Content Placeholder 3">
            <a:extLst>
              <a:ext uri="{FF2B5EF4-FFF2-40B4-BE49-F238E27FC236}">
                <a16:creationId xmlns:a16="http://schemas.microsoft.com/office/drawing/2014/main" xmlns="" id="{38ECCDC7-B909-4B40-A194-391D7E56A217}"/>
              </a:ext>
            </a:extLst>
          </p:cNvPr>
          <p:cNvSpPr>
            <a:spLocks noGrp="1"/>
          </p:cNvSpPr>
          <p:nvPr>
            <p:ph sz="quarter" idx="32"/>
          </p:nvPr>
        </p:nvSpPr>
        <p:spPr bwMode="gray">
          <a:xfrm>
            <a:off x="7835633" y="1376172"/>
            <a:ext cx="4092842" cy="1476762"/>
          </a:xfrm>
        </p:spPr>
        <p:txBody>
          <a:bodyPr lIns="0" tIns="108000" rIns="0" bIns="0"/>
          <a:lstStyle>
            <a:lvl1pPr>
              <a:lnSpc>
                <a:spcPct val="100000"/>
              </a:lnSpc>
              <a:spcBef>
                <a:spcPts val="600"/>
              </a:spcBef>
              <a:defRPr sz="1200"/>
            </a:lvl1pPr>
            <a:lvl2pPr>
              <a:lnSpc>
                <a:spcPct val="100000"/>
              </a:lnSpc>
              <a:spcBef>
                <a:spcPts val="600"/>
              </a:spcBef>
              <a:defRPr sz="1200"/>
            </a:lvl2pPr>
            <a:lvl3pPr>
              <a:lnSpc>
                <a:spcPct val="100000"/>
              </a:lnSpc>
              <a:spcBef>
                <a:spcPts val="600"/>
              </a:spcBef>
              <a:defRPr sz="1200"/>
            </a:lvl3pPr>
            <a:lvl4pPr>
              <a:lnSpc>
                <a:spcPct val="100000"/>
              </a:lnSpc>
              <a:spcBef>
                <a:spcPts val="600"/>
              </a:spcBef>
              <a:defRPr sz="1200"/>
            </a:lvl4pPr>
            <a:lvl5pPr>
              <a:lnSpc>
                <a:spcPct val="100000"/>
              </a:lnSpc>
              <a:spcBef>
                <a:spcPts val="600"/>
              </a:spcBef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2" name="Content Placeholder 3">
            <a:extLst>
              <a:ext uri="{FF2B5EF4-FFF2-40B4-BE49-F238E27FC236}">
                <a16:creationId xmlns:a16="http://schemas.microsoft.com/office/drawing/2014/main" xmlns="" id="{7FB68AC9-1A7B-4F55-BA72-C65F9F7C17C8}"/>
              </a:ext>
            </a:extLst>
          </p:cNvPr>
          <p:cNvSpPr>
            <a:spLocks noGrp="1"/>
          </p:cNvSpPr>
          <p:nvPr>
            <p:ph sz="quarter" idx="33"/>
          </p:nvPr>
        </p:nvSpPr>
        <p:spPr bwMode="gray">
          <a:xfrm>
            <a:off x="7835632" y="3141622"/>
            <a:ext cx="4092843" cy="1457464"/>
          </a:xfrm>
        </p:spPr>
        <p:txBody>
          <a:bodyPr lIns="0" tIns="108000" rIns="0" bIns="0"/>
          <a:lstStyle>
            <a:lvl1pPr>
              <a:lnSpc>
                <a:spcPct val="100000"/>
              </a:lnSpc>
              <a:spcBef>
                <a:spcPts val="600"/>
              </a:spcBef>
              <a:defRPr sz="1200"/>
            </a:lvl1pPr>
            <a:lvl2pPr>
              <a:lnSpc>
                <a:spcPct val="100000"/>
              </a:lnSpc>
              <a:spcBef>
                <a:spcPts val="600"/>
              </a:spcBef>
              <a:defRPr sz="1200"/>
            </a:lvl2pPr>
            <a:lvl3pPr>
              <a:lnSpc>
                <a:spcPct val="100000"/>
              </a:lnSpc>
              <a:spcBef>
                <a:spcPts val="600"/>
              </a:spcBef>
              <a:defRPr sz="1200"/>
            </a:lvl3pPr>
            <a:lvl4pPr>
              <a:lnSpc>
                <a:spcPct val="100000"/>
              </a:lnSpc>
              <a:spcBef>
                <a:spcPts val="600"/>
              </a:spcBef>
              <a:defRPr sz="1200"/>
            </a:lvl4pPr>
            <a:lvl5pPr>
              <a:lnSpc>
                <a:spcPct val="100000"/>
              </a:lnSpc>
              <a:spcBef>
                <a:spcPts val="600"/>
              </a:spcBef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3" name="Content Placeholder 3">
            <a:extLst>
              <a:ext uri="{FF2B5EF4-FFF2-40B4-BE49-F238E27FC236}">
                <a16:creationId xmlns:a16="http://schemas.microsoft.com/office/drawing/2014/main" xmlns="" id="{35D02AC1-EF4A-4AA3-A0CC-FB54DCBC60CA}"/>
              </a:ext>
            </a:extLst>
          </p:cNvPr>
          <p:cNvSpPr>
            <a:spLocks noGrp="1"/>
          </p:cNvSpPr>
          <p:nvPr>
            <p:ph sz="quarter" idx="34"/>
          </p:nvPr>
        </p:nvSpPr>
        <p:spPr bwMode="gray">
          <a:xfrm>
            <a:off x="7835632" y="4887774"/>
            <a:ext cx="4092843" cy="1457464"/>
          </a:xfrm>
        </p:spPr>
        <p:txBody>
          <a:bodyPr lIns="0" tIns="108000" rIns="0" bIns="0"/>
          <a:lstStyle>
            <a:lvl1pPr>
              <a:lnSpc>
                <a:spcPct val="100000"/>
              </a:lnSpc>
              <a:spcBef>
                <a:spcPts val="600"/>
              </a:spcBef>
              <a:defRPr sz="1200"/>
            </a:lvl1pPr>
            <a:lvl2pPr>
              <a:lnSpc>
                <a:spcPct val="100000"/>
              </a:lnSpc>
              <a:spcBef>
                <a:spcPts val="600"/>
              </a:spcBef>
              <a:defRPr sz="1200"/>
            </a:lvl2pPr>
            <a:lvl3pPr>
              <a:lnSpc>
                <a:spcPct val="100000"/>
              </a:lnSpc>
              <a:spcBef>
                <a:spcPts val="600"/>
              </a:spcBef>
              <a:defRPr sz="1200"/>
            </a:lvl3pPr>
            <a:lvl4pPr>
              <a:lnSpc>
                <a:spcPct val="100000"/>
              </a:lnSpc>
              <a:spcBef>
                <a:spcPts val="600"/>
              </a:spcBef>
              <a:defRPr sz="1200"/>
            </a:lvl4pPr>
            <a:lvl5pPr>
              <a:lnSpc>
                <a:spcPct val="100000"/>
              </a:lnSpc>
              <a:spcBef>
                <a:spcPts val="600"/>
              </a:spcBef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94FBF9A3-4A2F-4768-B67B-D40335DD59D7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C24EC536-6FE3-4540-8D85-74C58F0BF69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Footer Placeholder 5">
            <a:extLst>
              <a:ext uri="{FF2B5EF4-FFF2-40B4-BE49-F238E27FC236}">
                <a16:creationId xmlns:a16="http://schemas.microsoft.com/office/drawing/2014/main" xmlns="" id="{4CA2F72E-FF47-4AEA-80EF-04E3A69680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16400" y="6433200"/>
            <a:ext cx="6123600" cy="255600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900"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5677805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9) &amp;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xmlns="" id="{AD1B31ED-E7F7-4220-8A41-FD0D2DB422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4" y="187199"/>
            <a:ext cx="8856000" cy="435600"/>
          </a:xfrm>
        </p:spPr>
        <p:txBody>
          <a:bodyPr anchor="ctr">
            <a:noAutofit/>
          </a:bodyPr>
          <a:lstStyle>
            <a:lvl1pPr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9" name="Text Placeholder 11">
            <a:extLst>
              <a:ext uri="{FF2B5EF4-FFF2-40B4-BE49-F238E27FC236}">
                <a16:creationId xmlns:a16="http://schemas.microsoft.com/office/drawing/2014/main" xmlns="" id="{9C59FB2E-26EE-4C62-96FC-DAC9216CD4A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>
          <a:xfrm>
            <a:off x="263525" y="4398803"/>
            <a:ext cx="2952153" cy="1208528"/>
          </a:xfrm>
          <a:solidFill>
            <a:srgbClr val="B3B3B3"/>
          </a:solidFill>
        </p:spPr>
        <p:txBody>
          <a:bodyPr lIns="108000" tIns="108000" rIns="10800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11">
            <a:extLst>
              <a:ext uri="{FF2B5EF4-FFF2-40B4-BE49-F238E27FC236}">
                <a16:creationId xmlns:a16="http://schemas.microsoft.com/office/drawing/2014/main" xmlns="" id="{E2E51721-D2A7-43F7-AE5D-32351049CC4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>
          <a:xfrm>
            <a:off x="263525" y="1376172"/>
            <a:ext cx="2952156" cy="1224530"/>
          </a:xfrm>
          <a:solidFill>
            <a:schemeClr val="tx2"/>
          </a:solidFill>
        </p:spPr>
        <p:txBody>
          <a:bodyPr lIns="108000" tIns="108000" rIns="10800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1" name="Text Placeholder 11">
            <a:extLst>
              <a:ext uri="{FF2B5EF4-FFF2-40B4-BE49-F238E27FC236}">
                <a16:creationId xmlns:a16="http://schemas.microsoft.com/office/drawing/2014/main" xmlns="" id="{3119F755-6EE0-4D98-8C45-43092D7CA75A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>
          <a:xfrm>
            <a:off x="263523" y="2895489"/>
            <a:ext cx="2952155" cy="1208527"/>
          </a:xfrm>
          <a:solidFill>
            <a:srgbClr val="4D4D4D"/>
          </a:solidFill>
        </p:spPr>
        <p:txBody>
          <a:bodyPr lIns="108000" tIns="108000" rIns="10800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Content Placeholder 3">
            <a:extLst>
              <a:ext uri="{FF2B5EF4-FFF2-40B4-BE49-F238E27FC236}">
                <a16:creationId xmlns:a16="http://schemas.microsoft.com/office/drawing/2014/main" xmlns="" id="{8409A613-09A4-42FF-A74A-7A69B8896E14}"/>
              </a:ext>
            </a:extLst>
          </p:cNvPr>
          <p:cNvSpPr>
            <a:spLocks noGrp="1"/>
          </p:cNvSpPr>
          <p:nvPr>
            <p:ph sz="quarter" idx="29"/>
          </p:nvPr>
        </p:nvSpPr>
        <p:spPr bwMode="gray">
          <a:xfrm>
            <a:off x="3211201" y="1376172"/>
            <a:ext cx="4385354" cy="1224530"/>
          </a:xfrm>
          <a:solidFill>
            <a:srgbClr val="D9D9D9"/>
          </a:solidFill>
        </p:spPr>
        <p:txBody>
          <a:bodyPr lIns="108000" tIns="108000" rIns="108000" bIns="108000"/>
          <a:lstStyle>
            <a:lvl1pPr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6" name="Content Placeholder 3">
            <a:extLst>
              <a:ext uri="{FF2B5EF4-FFF2-40B4-BE49-F238E27FC236}">
                <a16:creationId xmlns:a16="http://schemas.microsoft.com/office/drawing/2014/main" xmlns="" id="{004768D5-0EB9-4F5E-BAF5-E0A18FAD9394}"/>
              </a:ext>
            </a:extLst>
          </p:cNvPr>
          <p:cNvSpPr>
            <a:spLocks noGrp="1"/>
          </p:cNvSpPr>
          <p:nvPr>
            <p:ph sz="quarter" idx="30"/>
          </p:nvPr>
        </p:nvSpPr>
        <p:spPr bwMode="gray">
          <a:xfrm>
            <a:off x="3211200" y="2895488"/>
            <a:ext cx="4385355" cy="1208528"/>
          </a:xfrm>
          <a:solidFill>
            <a:srgbClr val="D9D9D9"/>
          </a:solidFill>
        </p:spPr>
        <p:txBody>
          <a:bodyPr lIns="108000" tIns="108000" rIns="108000" bIns="108000"/>
          <a:lstStyle>
            <a:lvl1pPr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7" name="Content Placeholder 3">
            <a:extLst>
              <a:ext uri="{FF2B5EF4-FFF2-40B4-BE49-F238E27FC236}">
                <a16:creationId xmlns:a16="http://schemas.microsoft.com/office/drawing/2014/main" xmlns="" id="{B5A965DB-21DC-41B0-8898-D546D54A6055}"/>
              </a:ext>
            </a:extLst>
          </p:cNvPr>
          <p:cNvSpPr>
            <a:spLocks noGrp="1"/>
          </p:cNvSpPr>
          <p:nvPr>
            <p:ph sz="quarter" idx="31"/>
          </p:nvPr>
        </p:nvSpPr>
        <p:spPr bwMode="gray">
          <a:xfrm>
            <a:off x="3211200" y="4398803"/>
            <a:ext cx="4385355" cy="1208528"/>
          </a:xfrm>
          <a:solidFill>
            <a:srgbClr val="D9D9D9"/>
          </a:solidFill>
        </p:spPr>
        <p:txBody>
          <a:bodyPr lIns="108000" tIns="108000" rIns="108000" bIns="108000"/>
          <a:lstStyle>
            <a:lvl1pPr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1" name="Content Placeholder 3">
            <a:extLst>
              <a:ext uri="{FF2B5EF4-FFF2-40B4-BE49-F238E27FC236}">
                <a16:creationId xmlns:a16="http://schemas.microsoft.com/office/drawing/2014/main" xmlns="" id="{38ECCDC7-B909-4B40-A194-391D7E56A217}"/>
              </a:ext>
            </a:extLst>
          </p:cNvPr>
          <p:cNvSpPr>
            <a:spLocks noGrp="1"/>
          </p:cNvSpPr>
          <p:nvPr>
            <p:ph sz="quarter" idx="32"/>
          </p:nvPr>
        </p:nvSpPr>
        <p:spPr bwMode="gray">
          <a:xfrm>
            <a:off x="7835633" y="1376172"/>
            <a:ext cx="4092842" cy="1224530"/>
          </a:xfrm>
        </p:spPr>
        <p:txBody>
          <a:bodyPr lIns="0" tIns="108000" rIns="0" bIns="0"/>
          <a:lstStyle>
            <a:lvl1pPr>
              <a:lnSpc>
                <a:spcPct val="100000"/>
              </a:lnSpc>
              <a:spcBef>
                <a:spcPts val="600"/>
              </a:spcBef>
              <a:defRPr sz="1200"/>
            </a:lvl1pPr>
            <a:lvl2pPr>
              <a:lnSpc>
                <a:spcPct val="100000"/>
              </a:lnSpc>
              <a:spcBef>
                <a:spcPts val="600"/>
              </a:spcBef>
              <a:defRPr sz="1200"/>
            </a:lvl2pPr>
            <a:lvl3pPr>
              <a:lnSpc>
                <a:spcPct val="100000"/>
              </a:lnSpc>
              <a:spcBef>
                <a:spcPts val="600"/>
              </a:spcBef>
              <a:defRPr sz="1200"/>
            </a:lvl3pPr>
            <a:lvl4pPr>
              <a:lnSpc>
                <a:spcPct val="100000"/>
              </a:lnSpc>
              <a:spcBef>
                <a:spcPts val="600"/>
              </a:spcBef>
              <a:defRPr sz="1200"/>
            </a:lvl4pPr>
            <a:lvl5pPr>
              <a:lnSpc>
                <a:spcPct val="100000"/>
              </a:lnSpc>
              <a:spcBef>
                <a:spcPts val="600"/>
              </a:spcBef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2" name="Content Placeholder 3">
            <a:extLst>
              <a:ext uri="{FF2B5EF4-FFF2-40B4-BE49-F238E27FC236}">
                <a16:creationId xmlns:a16="http://schemas.microsoft.com/office/drawing/2014/main" xmlns="" id="{7FB68AC9-1A7B-4F55-BA72-C65F9F7C17C8}"/>
              </a:ext>
            </a:extLst>
          </p:cNvPr>
          <p:cNvSpPr>
            <a:spLocks noGrp="1"/>
          </p:cNvSpPr>
          <p:nvPr>
            <p:ph sz="quarter" idx="33"/>
          </p:nvPr>
        </p:nvSpPr>
        <p:spPr bwMode="gray">
          <a:xfrm>
            <a:off x="7835632" y="2895488"/>
            <a:ext cx="4092843" cy="1208528"/>
          </a:xfrm>
        </p:spPr>
        <p:txBody>
          <a:bodyPr lIns="0" tIns="108000" rIns="0" bIns="0"/>
          <a:lstStyle>
            <a:lvl1pPr>
              <a:lnSpc>
                <a:spcPct val="100000"/>
              </a:lnSpc>
              <a:spcBef>
                <a:spcPts val="600"/>
              </a:spcBef>
              <a:defRPr sz="1200"/>
            </a:lvl1pPr>
            <a:lvl2pPr>
              <a:lnSpc>
                <a:spcPct val="100000"/>
              </a:lnSpc>
              <a:spcBef>
                <a:spcPts val="600"/>
              </a:spcBef>
              <a:defRPr sz="1200"/>
            </a:lvl2pPr>
            <a:lvl3pPr>
              <a:lnSpc>
                <a:spcPct val="100000"/>
              </a:lnSpc>
              <a:spcBef>
                <a:spcPts val="600"/>
              </a:spcBef>
              <a:defRPr sz="1200"/>
            </a:lvl3pPr>
            <a:lvl4pPr>
              <a:lnSpc>
                <a:spcPct val="100000"/>
              </a:lnSpc>
              <a:spcBef>
                <a:spcPts val="600"/>
              </a:spcBef>
              <a:defRPr sz="1200"/>
            </a:lvl4pPr>
            <a:lvl5pPr>
              <a:lnSpc>
                <a:spcPct val="100000"/>
              </a:lnSpc>
              <a:spcBef>
                <a:spcPts val="600"/>
              </a:spcBef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3" name="Content Placeholder 3">
            <a:extLst>
              <a:ext uri="{FF2B5EF4-FFF2-40B4-BE49-F238E27FC236}">
                <a16:creationId xmlns:a16="http://schemas.microsoft.com/office/drawing/2014/main" xmlns="" id="{35D02AC1-EF4A-4AA3-A0CC-FB54DCBC60CA}"/>
              </a:ext>
            </a:extLst>
          </p:cNvPr>
          <p:cNvSpPr>
            <a:spLocks noGrp="1"/>
          </p:cNvSpPr>
          <p:nvPr>
            <p:ph sz="quarter" idx="34"/>
          </p:nvPr>
        </p:nvSpPr>
        <p:spPr bwMode="gray">
          <a:xfrm>
            <a:off x="7835632" y="4398803"/>
            <a:ext cx="4092843" cy="1208528"/>
          </a:xfrm>
        </p:spPr>
        <p:txBody>
          <a:bodyPr lIns="0" tIns="108000" rIns="0" bIns="0"/>
          <a:lstStyle>
            <a:lvl1pPr>
              <a:lnSpc>
                <a:spcPct val="100000"/>
              </a:lnSpc>
              <a:spcBef>
                <a:spcPts val="600"/>
              </a:spcBef>
              <a:defRPr sz="1200"/>
            </a:lvl1pPr>
            <a:lvl2pPr>
              <a:lnSpc>
                <a:spcPct val="100000"/>
              </a:lnSpc>
              <a:spcBef>
                <a:spcPts val="600"/>
              </a:spcBef>
              <a:defRPr sz="1200"/>
            </a:lvl2pPr>
            <a:lvl3pPr>
              <a:lnSpc>
                <a:spcPct val="100000"/>
              </a:lnSpc>
              <a:spcBef>
                <a:spcPts val="600"/>
              </a:spcBef>
              <a:defRPr sz="1200"/>
            </a:lvl3pPr>
            <a:lvl4pPr>
              <a:lnSpc>
                <a:spcPct val="100000"/>
              </a:lnSpc>
              <a:spcBef>
                <a:spcPts val="600"/>
              </a:spcBef>
              <a:defRPr sz="1200"/>
            </a:lvl4pPr>
            <a:lvl5pPr>
              <a:lnSpc>
                <a:spcPct val="100000"/>
              </a:lnSpc>
              <a:spcBef>
                <a:spcPts val="600"/>
              </a:spcBef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xmlns="" id="{7DC377B2-C877-4C10-9582-0E24CE80BE4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 bwMode="gray">
          <a:xfrm>
            <a:off x="0" y="5805264"/>
            <a:ext cx="12192000" cy="539974"/>
          </a:xfrm>
          <a:solidFill>
            <a:srgbClr val="D9D9D9"/>
          </a:solidFill>
        </p:spPr>
        <p:txBody>
          <a:bodyPr lIns="252000" tIns="0" rIns="25200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A34A342E-E498-4DD7-A1EB-71A045B7E387}"/>
              </a:ext>
            </a:extLst>
          </p:cNvPr>
          <p:cNvSpPr>
            <a:spLocks noGrp="1"/>
          </p:cNvSpPr>
          <p:nvPr>
            <p:ph type="sldNum" sz="quarter" idx="37"/>
          </p:nvPr>
        </p:nvSpPr>
        <p:spPr/>
        <p:txBody>
          <a:bodyPr/>
          <a:lstStyle/>
          <a:p>
            <a:fld id="{C24EC536-6FE3-4540-8D85-74C58F0BF69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Footer Placeholder 5">
            <a:extLst>
              <a:ext uri="{FF2B5EF4-FFF2-40B4-BE49-F238E27FC236}">
                <a16:creationId xmlns:a16="http://schemas.microsoft.com/office/drawing/2014/main" xmlns="" id="{1C9DF303-8EEC-4D9E-8083-582D7E69327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16400" y="6433200"/>
            <a:ext cx="6123600" cy="255600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900"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9905162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9) &amp; Box (R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xmlns="" id="{AD1B31ED-E7F7-4220-8A41-FD0D2DB422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4" y="187199"/>
            <a:ext cx="8856000" cy="435600"/>
          </a:xfrm>
        </p:spPr>
        <p:txBody>
          <a:bodyPr anchor="ctr">
            <a:noAutofit/>
          </a:bodyPr>
          <a:lstStyle>
            <a:lvl1pPr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9" name="Text Placeholder 11">
            <a:extLst>
              <a:ext uri="{FF2B5EF4-FFF2-40B4-BE49-F238E27FC236}">
                <a16:creationId xmlns:a16="http://schemas.microsoft.com/office/drawing/2014/main" xmlns="" id="{9C59FB2E-26EE-4C62-96FC-DAC9216CD4A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>
          <a:xfrm>
            <a:off x="263525" y="4398803"/>
            <a:ext cx="2952153" cy="1208528"/>
          </a:xfrm>
          <a:solidFill>
            <a:srgbClr val="B3B3B3"/>
          </a:solidFill>
        </p:spPr>
        <p:txBody>
          <a:bodyPr lIns="108000" tIns="108000" rIns="10800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11">
            <a:extLst>
              <a:ext uri="{FF2B5EF4-FFF2-40B4-BE49-F238E27FC236}">
                <a16:creationId xmlns:a16="http://schemas.microsoft.com/office/drawing/2014/main" xmlns="" id="{E2E51721-D2A7-43F7-AE5D-32351049CC4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>
          <a:xfrm>
            <a:off x="263525" y="1376172"/>
            <a:ext cx="2952156" cy="1224530"/>
          </a:xfrm>
          <a:solidFill>
            <a:schemeClr val="tx2"/>
          </a:solidFill>
        </p:spPr>
        <p:txBody>
          <a:bodyPr lIns="108000" tIns="108000" rIns="10800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 Placeholder 11">
            <a:extLst>
              <a:ext uri="{FF2B5EF4-FFF2-40B4-BE49-F238E27FC236}">
                <a16:creationId xmlns:a16="http://schemas.microsoft.com/office/drawing/2014/main" xmlns="" id="{3119F755-6EE0-4D98-8C45-43092D7CA75A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>
          <a:xfrm>
            <a:off x="263523" y="2895489"/>
            <a:ext cx="2952155" cy="1208527"/>
          </a:xfrm>
          <a:solidFill>
            <a:srgbClr val="4D4D4D"/>
          </a:solidFill>
        </p:spPr>
        <p:txBody>
          <a:bodyPr lIns="108000" tIns="108000" rIns="10800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Content Placeholder 3">
            <a:extLst>
              <a:ext uri="{FF2B5EF4-FFF2-40B4-BE49-F238E27FC236}">
                <a16:creationId xmlns:a16="http://schemas.microsoft.com/office/drawing/2014/main" xmlns="" id="{8409A613-09A4-42FF-A74A-7A69B8896E14}"/>
              </a:ext>
            </a:extLst>
          </p:cNvPr>
          <p:cNvSpPr>
            <a:spLocks noGrp="1"/>
          </p:cNvSpPr>
          <p:nvPr>
            <p:ph sz="quarter" idx="29"/>
          </p:nvPr>
        </p:nvSpPr>
        <p:spPr bwMode="gray">
          <a:xfrm>
            <a:off x="3211201" y="1376172"/>
            <a:ext cx="4385354" cy="1224530"/>
          </a:xfrm>
          <a:solidFill>
            <a:srgbClr val="D9D9D9"/>
          </a:solidFill>
        </p:spPr>
        <p:txBody>
          <a:bodyPr lIns="108000" tIns="108000" rIns="108000" bIns="108000"/>
          <a:lstStyle>
            <a:lvl1pPr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6" name="Content Placeholder 3">
            <a:extLst>
              <a:ext uri="{FF2B5EF4-FFF2-40B4-BE49-F238E27FC236}">
                <a16:creationId xmlns:a16="http://schemas.microsoft.com/office/drawing/2014/main" xmlns="" id="{004768D5-0EB9-4F5E-BAF5-E0A18FAD9394}"/>
              </a:ext>
            </a:extLst>
          </p:cNvPr>
          <p:cNvSpPr>
            <a:spLocks noGrp="1"/>
          </p:cNvSpPr>
          <p:nvPr>
            <p:ph sz="quarter" idx="30"/>
          </p:nvPr>
        </p:nvSpPr>
        <p:spPr bwMode="gray">
          <a:xfrm>
            <a:off x="3211200" y="2895489"/>
            <a:ext cx="4385355" cy="1208528"/>
          </a:xfrm>
          <a:solidFill>
            <a:srgbClr val="D9D9D9"/>
          </a:solidFill>
        </p:spPr>
        <p:txBody>
          <a:bodyPr lIns="108000" tIns="108000" rIns="108000" bIns="108000"/>
          <a:lstStyle>
            <a:lvl1pPr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7" name="Content Placeholder 3">
            <a:extLst>
              <a:ext uri="{FF2B5EF4-FFF2-40B4-BE49-F238E27FC236}">
                <a16:creationId xmlns:a16="http://schemas.microsoft.com/office/drawing/2014/main" xmlns="" id="{B5A965DB-21DC-41B0-8898-D546D54A6055}"/>
              </a:ext>
            </a:extLst>
          </p:cNvPr>
          <p:cNvSpPr>
            <a:spLocks noGrp="1"/>
          </p:cNvSpPr>
          <p:nvPr>
            <p:ph sz="quarter" idx="31"/>
          </p:nvPr>
        </p:nvSpPr>
        <p:spPr bwMode="gray">
          <a:xfrm>
            <a:off x="3211200" y="4398803"/>
            <a:ext cx="4385355" cy="1208528"/>
          </a:xfrm>
          <a:solidFill>
            <a:srgbClr val="D9D9D9"/>
          </a:solidFill>
        </p:spPr>
        <p:txBody>
          <a:bodyPr lIns="108000" tIns="108000" rIns="108000" bIns="108000"/>
          <a:lstStyle>
            <a:lvl1pPr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1" name="Content Placeholder 3">
            <a:extLst>
              <a:ext uri="{FF2B5EF4-FFF2-40B4-BE49-F238E27FC236}">
                <a16:creationId xmlns:a16="http://schemas.microsoft.com/office/drawing/2014/main" xmlns="" id="{38ECCDC7-B909-4B40-A194-391D7E56A217}"/>
              </a:ext>
            </a:extLst>
          </p:cNvPr>
          <p:cNvSpPr>
            <a:spLocks noGrp="1"/>
          </p:cNvSpPr>
          <p:nvPr>
            <p:ph sz="quarter" idx="32"/>
          </p:nvPr>
        </p:nvSpPr>
        <p:spPr bwMode="gray">
          <a:xfrm>
            <a:off x="7835633" y="1376172"/>
            <a:ext cx="4092842" cy="1224530"/>
          </a:xfrm>
        </p:spPr>
        <p:txBody>
          <a:bodyPr lIns="0" tIns="108000" rIns="0" bIns="0"/>
          <a:lstStyle>
            <a:lvl1pPr>
              <a:lnSpc>
                <a:spcPct val="100000"/>
              </a:lnSpc>
              <a:spcBef>
                <a:spcPts val="600"/>
              </a:spcBef>
              <a:defRPr sz="1200"/>
            </a:lvl1pPr>
            <a:lvl2pPr>
              <a:lnSpc>
                <a:spcPct val="100000"/>
              </a:lnSpc>
              <a:spcBef>
                <a:spcPts val="600"/>
              </a:spcBef>
              <a:defRPr sz="1200"/>
            </a:lvl2pPr>
            <a:lvl3pPr>
              <a:lnSpc>
                <a:spcPct val="100000"/>
              </a:lnSpc>
              <a:spcBef>
                <a:spcPts val="600"/>
              </a:spcBef>
              <a:defRPr sz="1200"/>
            </a:lvl3pPr>
            <a:lvl4pPr>
              <a:lnSpc>
                <a:spcPct val="100000"/>
              </a:lnSpc>
              <a:spcBef>
                <a:spcPts val="600"/>
              </a:spcBef>
              <a:defRPr sz="1200"/>
            </a:lvl4pPr>
            <a:lvl5pPr>
              <a:lnSpc>
                <a:spcPct val="100000"/>
              </a:lnSpc>
              <a:spcBef>
                <a:spcPts val="600"/>
              </a:spcBef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2" name="Content Placeholder 3">
            <a:extLst>
              <a:ext uri="{FF2B5EF4-FFF2-40B4-BE49-F238E27FC236}">
                <a16:creationId xmlns:a16="http://schemas.microsoft.com/office/drawing/2014/main" xmlns="" id="{7FB68AC9-1A7B-4F55-BA72-C65F9F7C17C8}"/>
              </a:ext>
            </a:extLst>
          </p:cNvPr>
          <p:cNvSpPr>
            <a:spLocks noGrp="1"/>
          </p:cNvSpPr>
          <p:nvPr>
            <p:ph sz="quarter" idx="33"/>
          </p:nvPr>
        </p:nvSpPr>
        <p:spPr bwMode="gray">
          <a:xfrm>
            <a:off x="7835632" y="2895488"/>
            <a:ext cx="4092843" cy="1208528"/>
          </a:xfrm>
        </p:spPr>
        <p:txBody>
          <a:bodyPr lIns="0" tIns="108000" rIns="0" bIns="0"/>
          <a:lstStyle>
            <a:lvl1pPr>
              <a:lnSpc>
                <a:spcPct val="100000"/>
              </a:lnSpc>
              <a:spcBef>
                <a:spcPts val="600"/>
              </a:spcBef>
              <a:defRPr sz="1200"/>
            </a:lvl1pPr>
            <a:lvl2pPr>
              <a:lnSpc>
                <a:spcPct val="100000"/>
              </a:lnSpc>
              <a:spcBef>
                <a:spcPts val="600"/>
              </a:spcBef>
              <a:defRPr sz="1200"/>
            </a:lvl2pPr>
            <a:lvl3pPr>
              <a:lnSpc>
                <a:spcPct val="100000"/>
              </a:lnSpc>
              <a:spcBef>
                <a:spcPts val="600"/>
              </a:spcBef>
              <a:defRPr sz="1200"/>
            </a:lvl3pPr>
            <a:lvl4pPr>
              <a:lnSpc>
                <a:spcPct val="100000"/>
              </a:lnSpc>
              <a:spcBef>
                <a:spcPts val="600"/>
              </a:spcBef>
              <a:defRPr sz="1200"/>
            </a:lvl4pPr>
            <a:lvl5pPr>
              <a:lnSpc>
                <a:spcPct val="100000"/>
              </a:lnSpc>
              <a:spcBef>
                <a:spcPts val="600"/>
              </a:spcBef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3" name="Content Placeholder 3">
            <a:extLst>
              <a:ext uri="{FF2B5EF4-FFF2-40B4-BE49-F238E27FC236}">
                <a16:creationId xmlns:a16="http://schemas.microsoft.com/office/drawing/2014/main" xmlns="" id="{35D02AC1-EF4A-4AA3-A0CC-FB54DCBC60CA}"/>
              </a:ext>
            </a:extLst>
          </p:cNvPr>
          <p:cNvSpPr>
            <a:spLocks noGrp="1"/>
          </p:cNvSpPr>
          <p:nvPr>
            <p:ph sz="quarter" idx="34"/>
          </p:nvPr>
        </p:nvSpPr>
        <p:spPr bwMode="gray">
          <a:xfrm>
            <a:off x="7835632" y="4398803"/>
            <a:ext cx="4092843" cy="1208528"/>
          </a:xfrm>
        </p:spPr>
        <p:txBody>
          <a:bodyPr lIns="0" tIns="108000" rIns="0" bIns="0"/>
          <a:lstStyle>
            <a:lvl1pPr>
              <a:lnSpc>
                <a:spcPct val="100000"/>
              </a:lnSpc>
              <a:spcBef>
                <a:spcPts val="600"/>
              </a:spcBef>
              <a:defRPr sz="1200"/>
            </a:lvl1pPr>
            <a:lvl2pPr>
              <a:lnSpc>
                <a:spcPct val="100000"/>
              </a:lnSpc>
              <a:spcBef>
                <a:spcPts val="600"/>
              </a:spcBef>
              <a:defRPr sz="1200"/>
            </a:lvl2pPr>
            <a:lvl3pPr>
              <a:lnSpc>
                <a:spcPct val="100000"/>
              </a:lnSpc>
              <a:spcBef>
                <a:spcPts val="600"/>
              </a:spcBef>
              <a:defRPr sz="1200"/>
            </a:lvl3pPr>
            <a:lvl4pPr>
              <a:lnSpc>
                <a:spcPct val="100000"/>
              </a:lnSpc>
              <a:spcBef>
                <a:spcPts val="600"/>
              </a:spcBef>
              <a:defRPr sz="1200"/>
            </a:lvl4pPr>
            <a:lvl5pPr>
              <a:lnSpc>
                <a:spcPct val="100000"/>
              </a:lnSpc>
              <a:spcBef>
                <a:spcPts val="600"/>
              </a:spcBef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xmlns="" id="{7DC377B2-C877-4C10-9582-0E24CE80BE4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 bwMode="gray">
          <a:xfrm>
            <a:off x="0" y="5805264"/>
            <a:ext cx="12192000" cy="539974"/>
          </a:xfrm>
          <a:solidFill>
            <a:schemeClr val="tx2"/>
          </a:solidFill>
        </p:spPr>
        <p:txBody>
          <a:bodyPr lIns="252000" tIns="0" rIns="25200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325FBDD5-5B50-432C-8F8B-7EA0EF44A2F2}"/>
              </a:ext>
            </a:extLst>
          </p:cNvPr>
          <p:cNvSpPr>
            <a:spLocks noGrp="1"/>
          </p:cNvSpPr>
          <p:nvPr>
            <p:ph type="sldNum" sz="quarter" idx="37"/>
          </p:nvPr>
        </p:nvSpPr>
        <p:spPr/>
        <p:txBody>
          <a:bodyPr/>
          <a:lstStyle/>
          <a:p>
            <a:fld id="{C24EC536-6FE3-4540-8D85-74C58F0BF69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Footer Placeholder 5">
            <a:extLst>
              <a:ext uri="{FF2B5EF4-FFF2-40B4-BE49-F238E27FC236}">
                <a16:creationId xmlns:a16="http://schemas.microsoft.com/office/drawing/2014/main" xmlns="" id="{CCBC895B-E647-494D-9464-D05F3FBC5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16400" y="6433200"/>
            <a:ext cx="6123600" cy="255600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900"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2978992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3)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xmlns="" id="{AD1B31ED-E7F7-4220-8A41-FD0D2DB422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4" y="187199"/>
            <a:ext cx="8856000" cy="435600"/>
          </a:xfrm>
        </p:spPr>
        <p:txBody>
          <a:bodyPr anchor="ctr">
            <a:noAutofit/>
          </a:bodyPr>
          <a:lstStyle>
            <a:lvl1pPr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9" name="Text Placeholder 11">
            <a:extLst>
              <a:ext uri="{FF2B5EF4-FFF2-40B4-BE49-F238E27FC236}">
                <a16:creationId xmlns:a16="http://schemas.microsoft.com/office/drawing/2014/main" xmlns="" id="{9C59FB2E-26EE-4C62-96FC-DAC9216CD4A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>
          <a:xfrm>
            <a:off x="263525" y="4887774"/>
            <a:ext cx="2952153" cy="1457464"/>
          </a:xfrm>
          <a:solidFill>
            <a:srgbClr val="B3B3B3"/>
          </a:solidFill>
        </p:spPr>
        <p:txBody>
          <a:bodyPr lIns="108000" tIns="108000" rIns="10800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11">
            <a:extLst>
              <a:ext uri="{FF2B5EF4-FFF2-40B4-BE49-F238E27FC236}">
                <a16:creationId xmlns:a16="http://schemas.microsoft.com/office/drawing/2014/main" xmlns="" id="{E2E51721-D2A7-43F7-AE5D-32351049CC4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>
          <a:xfrm>
            <a:off x="263525" y="1376172"/>
            <a:ext cx="2952156" cy="1476762"/>
          </a:xfrm>
          <a:solidFill>
            <a:schemeClr val="tx2"/>
          </a:solidFill>
        </p:spPr>
        <p:txBody>
          <a:bodyPr lIns="108000" tIns="108000" rIns="10800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 Placeholder 11">
            <a:extLst>
              <a:ext uri="{FF2B5EF4-FFF2-40B4-BE49-F238E27FC236}">
                <a16:creationId xmlns:a16="http://schemas.microsoft.com/office/drawing/2014/main" xmlns="" id="{3119F755-6EE0-4D98-8C45-43092D7CA75A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>
          <a:xfrm>
            <a:off x="263523" y="3125396"/>
            <a:ext cx="2952155" cy="1457463"/>
          </a:xfrm>
          <a:solidFill>
            <a:srgbClr val="4D4D4D"/>
          </a:solidFill>
        </p:spPr>
        <p:txBody>
          <a:bodyPr lIns="108000" tIns="108000" rIns="10800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Picture Placeholder 3">
            <a:extLst>
              <a:ext uri="{FF2B5EF4-FFF2-40B4-BE49-F238E27FC236}">
                <a16:creationId xmlns:a16="http://schemas.microsoft.com/office/drawing/2014/main" xmlns="" id="{56FDF79A-1A36-4C91-8B67-51292BAD1F4A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489049" y="1376364"/>
            <a:ext cx="8437840" cy="4968873"/>
          </a:xfrm>
          <a:noFill/>
        </p:spPr>
        <p:txBody>
          <a:bodyPr tIns="756000" anchor="ctr"/>
          <a:lstStyle>
            <a:lvl1pPr algn="ctr">
              <a:defRPr>
                <a:solidFill>
                  <a:srgbClr val="737373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655C6F6F-1E93-42EA-8E64-770254FABFE7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C24EC536-6FE3-4540-8D85-74C58F0BF69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Footer Placeholder 5">
            <a:extLst>
              <a:ext uri="{FF2B5EF4-FFF2-40B4-BE49-F238E27FC236}">
                <a16:creationId xmlns:a16="http://schemas.microsoft.com/office/drawing/2014/main" xmlns="" id="{A5FD4ECE-1217-4037-AF75-04E62367155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16400" y="6433200"/>
            <a:ext cx="6123600" cy="255600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900"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657464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 - Brighter Picture 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xmlns="" id="{7F863E3D-E8C6-4587-A9FE-547D1D37E58C}"/>
              </a:ext>
            </a:extLst>
          </p:cNvPr>
          <p:cNvSpPr/>
          <p:nvPr userDrawn="1"/>
        </p:nvSpPr>
        <p:spPr>
          <a:xfrm>
            <a:off x="9099329" y="344152"/>
            <a:ext cx="2830711" cy="1032211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GB" sz="1400" dirty="0" err="1">
              <a:solidFill>
                <a:schemeClr val="tx1"/>
              </a:solidFill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xmlns="" id="{EB87F6C0-6A0D-49A9-B92D-47AC66E82F62}"/>
              </a:ext>
            </a:extLst>
          </p:cNvPr>
          <p:cNvSpPr/>
          <p:nvPr userDrawn="1"/>
        </p:nvSpPr>
        <p:spPr>
          <a:xfrm rot="20700000">
            <a:off x="11630945" y="891479"/>
            <a:ext cx="125787" cy="6268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GB" sz="1400" dirty="0" err="1">
              <a:solidFill>
                <a:schemeClr val="tx1"/>
              </a:solidFill>
            </a:endParaRPr>
          </a:p>
        </p:txBody>
      </p:sp>
      <p:sp>
        <p:nvSpPr>
          <p:cNvPr id="48" name="Picture Placeholder 47">
            <a:extLst>
              <a:ext uri="{FF2B5EF4-FFF2-40B4-BE49-F238E27FC236}">
                <a16:creationId xmlns:a16="http://schemas.microsoft.com/office/drawing/2014/main" xmlns="" id="{7B060B46-A36B-42A8-BC2B-4D51C11E5CF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" y="4"/>
            <a:ext cx="12193196" cy="4738686"/>
          </a:xfrm>
          <a:custGeom>
            <a:avLst/>
            <a:gdLst>
              <a:gd name="connsiteX0" fmla="*/ 9943716 w 12193196"/>
              <a:gd name="connsiteY0" fmla="*/ 1018573 h 4738686"/>
              <a:gd name="connsiteX1" fmla="*/ 9943716 w 12193196"/>
              <a:gd name="connsiteY1" fmla="*/ 1018583 h 4738686"/>
              <a:gd name="connsiteX2" fmla="*/ 9972804 w 12193196"/>
              <a:gd name="connsiteY2" fmla="*/ 1068171 h 4738686"/>
              <a:gd name="connsiteX3" fmla="*/ 9944107 w 12193196"/>
              <a:gd name="connsiteY3" fmla="*/ 1122040 h 4738686"/>
              <a:gd name="connsiteX4" fmla="*/ 9914039 w 12193196"/>
              <a:gd name="connsiteY4" fmla="*/ 1079406 h 4738686"/>
              <a:gd name="connsiteX5" fmla="*/ 9914039 w 12193196"/>
              <a:gd name="connsiteY5" fmla="*/ 1067545 h 4738686"/>
              <a:gd name="connsiteX6" fmla="*/ 9943716 w 12193196"/>
              <a:gd name="connsiteY6" fmla="*/ 1018573 h 4738686"/>
              <a:gd name="connsiteX7" fmla="*/ 11408435 w 12193196"/>
              <a:gd name="connsiteY7" fmla="*/ 1012941 h 4738686"/>
              <a:gd name="connsiteX8" fmla="*/ 11434684 w 12193196"/>
              <a:gd name="connsiteY8" fmla="*/ 1041128 h 4738686"/>
              <a:gd name="connsiteX9" fmla="*/ 11379836 w 12193196"/>
              <a:gd name="connsiteY9" fmla="*/ 1041128 h 4738686"/>
              <a:gd name="connsiteX10" fmla="*/ 11408435 w 12193196"/>
              <a:gd name="connsiteY10" fmla="*/ 1012941 h 4738686"/>
              <a:gd name="connsiteX11" fmla="*/ 10350271 w 12193196"/>
              <a:gd name="connsiteY11" fmla="*/ 1012834 h 4738686"/>
              <a:gd name="connsiteX12" fmla="*/ 10376618 w 12193196"/>
              <a:gd name="connsiteY12" fmla="*/ 1041021 h 4738686"/>
              <a:gd name="connsiteX13" fmla="*/ 10321770 w 12193196"/>
              <a:gd name="connsiteY13" fmla="*/ 1041021 h 4738686"/>
              <a:gd name="connsiteX14" fmla="*/ 10350271 w 12193196"/>
              <a:gd name="connsiteY14" fmla="*/ 1012834 h 4738686"/>
              <a:gd name="connsiteX15" fmla="*/ 10912556 w 12193196"/>
              <a:gd name="connsiteY15" fmla="*/ 1012833 h 4738686"/>
              <a:gd name="connsiteX16" fmla="*/ 10938805 w 12193196"/>
              <a:gd name="connsiteY16" fmla="*/ 1041021 h 4738686"/>
              <a:gd name="connsiteX17" fmla="*/ 10883957 w 12193196"/>
              <a:gd name="connsiteY17" fmla="*/ 1041021 h 4738686"/>
              <a:gd name="connsiteX18" fmla="*/ 10912556 w 12193196"/>
              <a:gd name="connsiteY18" fmla="*/ 1012833 h 4738686"/>
              <a:gd name="connsiteX19" fmla="*/ 11605397 w 12193196"/>
              <a:gd name="connsiteY19" fmla="*/ 1000835 h 4738686"/>
              <a:gd name="connsiteX20" fmla="*/ 11568179 w 12193196"/>
              <a:gd name="connsiteY20" fmla="*/ 1043841 h 4738686"/>
              <a:gd name="connsiteX21" fmla="*/ 11535270 w 12193196"/>
              <a:gd name="connsiteY21" fmla="*/ 1000923 h 4738686"/>
              <a:gd name="connsiteX22" fmla="*/ 11476897 w 12193196"/>
              <a:gd name="connsiteY22" fmla="*/ 1000923 h 4738686"/>
              <a:gd name="connsiteX23" fmla="*/ 11476897 w 12193196"/>
              <a:gd name="connsiteY23" fmla="*/ 1011922 h 4738686"/>
              <a:gd name="connsiteX24" fmla="*/ 11479443 w 12193196"/>
              <a:gd name="connsiteY24" fmla="*/ 1012079 h 4738686"/>
              <a:gd name="connsiteX25" fmla="*/ 11516074 w 12193196"/>
              <a:gd name="connsiteY25" fmla="*/ 1033136 h 4738686"/>
              <a:gd name="connsiteX26" fmla="*/ 11539971 w 12193196"/>
              <a:gd name="connsiteY26" fmla="*/ 1064899 h 4738686"/>
              <a:gd name="connsiteX27" fmla="*/ 11500893 w 12193196"/>
              <a:gd name="connsiteY27" fmla="*/ 1110021 h 4738686"/>
              <a:gd name="connsiteX28" fmla="*/ 11541245 w 12193196"/>
              <a:gd name="connsiteY28" fmla="*/ 1110021 h 4738686"/>
              <a:gd name="connsiteX29" fmla="*/ 11558776 w 12193196"/>
              <a:gd name="connsiteY29" fmla="*/ 1089874 h 4738686"/>
              <a:gd name="connsiteX30" fmla="*/ 11596386 w 12193196"/>
              <a:gd name="connsiteY30" fmla="*/ 1139824 h 4738686"/>
              <a:gd name="connsiteX31" fmla="*/ 11641635 w 12193196"/>
              <a:gd name="connsiteY31" fmla="*/ 1139824 h 4738686"/>
              <a:gd name="connsiteX32" fmla="*/ 11569942 w 12193196"/>
              <a:gd name="connsiteY32" fmla="*/ 1046192 h 4738686"/>
              <a:gd name="connsiteX33" fmla="*/ 11606474 w 12193196"/>
              <a:gd name="connsiteY33" fmla="*/ 1046221 h 4738686"/>
              <a:gd name="connsiteX34" fmla="*/ 11645651 w 12193196"/>
              <a:gd name="connsiteY34" fmla="*/ 1000835 h 4738686"/>
              <a:gd name="connsiteX35" fmla="*/ 11409709 w 12193196"/>
              <a:gd name="connsiteY35" fmla="*/ 997750 h 4738686"/>
              <a:gd name="connsiteX36" fmla="*/ 11338211 w 12193196"/>
              <a:gd name="connsiteY36" fmla="*/ 1065684 h 4738686"/>
              <a:gd name="connsiteX37" fmla="*/ 11421168 w 12193196"/>
              <a:gd name="connsiteY37" fmla="*/ 1143008 h 4738686"/>
              <a:gd name="connsiteX38" fmla="*/ 11467788 w 12193196"/>
              <a:gd name="connsiteY38" fmla="*/ 1135231 h 4738686"/>
              <a:gd name="connsiteX39" fmla="*/ 11470041 w 12193196"/>
              <a:gd name="connsiteY39" fmla="*/ 1134527 h 4738686"/>
              <a:gd name="connsiteX40" fmla="*/ 11470041 w 12193196"/>
              <a:gd name="connsiteY40" fmla="*/ 1116084 h 4738686"/>
              <a:gd name="connsiteX41" fmla="*/ 11466417 w 12193196"/>
              <a:gd name="connsiteY41" fmla="*/ 1117376 h 4738686"/>
              <a:gd name="connsiteX42" fmla="*/ 11436545 w 12193196"/>
              <a:gd name="connsiteY42" fmla="*/ 1122088 h 4738686"/>
              <a:gd name="connsiteX43" fmla="*/ 11379738 w 12193196"/>
              <a:gd name="connsiteY43" fmla="*/ 1058034 h 4738686"/>
              <a:gd name="connsiteX44" fmla="*/ 11472979 w 12193196"/>
              <a:gd name="connsiteY44" fmla="*/ 1058034 h 4738686"/>
              <a:gd name="connsiteX45" fmla="*/ 11472979 w 12193196"/>
              <a:gd name="connsiteY45" fmla="*/ 1055330 h 4738686"/>
              <a:gd name="connsiteX46" fmla="*/ 11409709 w 12193196"/>
              <a:gd name="connsiteY46" fmla="*/ 997750 h 4738686"/>
              <a:gd name="connsiteX47" fmla="*/ 9781426 w 12193196"/>
              <a:gd name="connsiteY47" fmla="*/ 997723 h 4738686"/>
              <a:gd name="connsiteX48" fmla="*/ 9724032 w 12193196"/>
              <a:gd name="connsiteY48" fmla="*/ 1038926 h 4738686"/>
              <a:gd name="connsiteX49" fmla="*/ 9765951 w 12193196"/>
              <a:gd name="connsiteY49" fmla="*/ 1082648 h 4738686"/>
              <a:gd name="connsiteX50" fmla="*/ 9795725 w 12193196"/>
              <a:gd name="connsiteY50" fmla="*/ 1108378 h 4738686"/>
              <a:gd name="connsiteX51" fmla="*/ 9770261 w 12193196"/>
              <a:gd name="connsiteY51" fmla="*/ 1124901 h 4738686"/>
              <a:gd name="connsiteX52" fmla="*/ 9728439 w 12193196"/>
              <a:gd name="connsiteY52" fmla="*/ 1110376 h 4738686"/>
              <a:gd name="connsiteX53" fmla="*/ 9724326 w 12193196"/>
              <a:gd name="connsiteY53" fmla="*/ 1107888 h 4738686"/>
              <a:gd name="connsiteX54" fmla="*/ 9724326 w 12193196"/>
              <a:gd name="connsiteY54" fmla="*/ 1137271 h 4738686"/>
              <a:gd name="connsiteX55" fmla="*/ 9727166 w 12193196"/>
              <a:gd name="connsiteY55" fmla="*/ 1137888 h 4738686"/>
              <a:gd name="connsiteX56" fmla="*/ 9768987 w 12193196"/>
              <a:gd name="connsiteY56" fmla="*/ 1142971 h 4738686"/>
              <a:gd name="connsiteX57" fmla="*/ 9830593 w 12193196"/>
              <a:gd name="connsiteY57" fmla="*/ 1100631 h 4738686"/>
              <a:gd name="connsiteX58" fmla="*/ 9786911 w 12193196"/>
              <a:gd name="connsiteY58" fmla="*/ 1052913 h 4738686"/>
              <a:gd name="connsiteX59" fmla="*/ 9786911 w 12193196"/>
              <a:gd name="connsiteY59" fmla="*/ 1052884 h 4738686"/>
              <a:gd name="connsiteX60" fmla="*/ 9758899 w 12193196"/>
              <a:gd name="connsiteY60" fmla="*/ 1028779 h 4738686"/>
              <a:gd name="connsiteX61" fmla="*/ 9779075 w 12193196"/>
              <a:gd name="connsiteY61" fmla="*/ 1015714 h 4738686"/>
              <a:gd name="connsiteX62" fmla="*/ 9814824 w 12193196"/>
              <a:gd name="connsiteY62" fmla="*/ 1028006 h 4738686"/>
              <a:gd name="connsiteX63" fmla="*/ 9820799 w 12193196"/>
              <a:gd name="connsiteY63" fmla="*/ 1031649 h 4738686"/>
              <a:gd name="connsiteX64" fmla="*/ 9820799 w 12193196"/>
              <a:gd name="connsiteY64" fmla="*/ 1003079 h 4738686"/>
              <a:gd name="connsiteX65" fmla="*/ 9816097 w 12193196"/>
              <a:gd name="connsiteY65" fmla="*/ 1002101 h 4738686"/>
              <a:gd name="connsiteX66" fmla="*/ 9781426 w 12193196"/>
              <a:gd name="connsiteY66" fmla="*/ 997723 h 4738686"/>
              <a:gd name="connsiteX67" fmla="*/ 10913830 w 12193196"/>
              <a:gd name="connsiteY67" fmla="*/ 997682 h 4738686"/>
              <a:gd name="connsiteX68" fmla="*/ 10842430 w 12193196"/>
              <a:gd name="connsiteY68" fmla="*/ 1065566 h 4738686"/>
              <a:gd name="connsiteX69" fmla="*/ 10925289 w 12193196"/>
              <a:gd name="connsiteY69" fmla="*/ 1142940 h 4738686"/>
              <a:gd name="connsiteX70" fmla="*/ 10971909 w 12193196"/>
              <a:gd name="connsiteY70" fmla="*/ 1135104 h 4738686"/>
              <a:gd name="connsiteX71" fmla="*/ 10974162 w 12193196"/>
              <a:gd name="connsiteY71" fmla="*/ 1134399 h 4738686"/>
              <a:gd name="connsiteX72" fmla="*/ 10974162 w 12193196"/>
              <a:gd name="connsiteY72" fmla="*/ 1115976 h 4738686"/>
              <a:gd name="connsiteX73" fmla="*/ 10970538 w 12193196"/>
              <a:gd name="connsiteY73" fmla="*/ 1117289 h 4738686"/>
              <a:gd name="connsiteX74" fmla="*/ 10940666 w 12193196"/>
              <a:gd name="connsiteY74" fmla="*/ 1122000 h 4738686"/>
              <a:gd name="connsiteX75" fmla="*/ 10883957 w 12193196"/>
              <a:gd name="connsiteY75" fmla="*/ 1057926 h 4738686"/>
              <a:gd name="connsiteX76" fmla="*/ 10977100 w 12193196"/>
              <a:gd name="connsiteY76" fmla="*/ 1057926 h 4738686"/>
              <a:gd name="connsiteX77" fmla="*/ 10977100 w 12193196"/>
              <a:gd name="connsiteY77" fmla="*/ 1055242 h 4738686"/>
              <a:gd name="connsiteX78" fmla="*/ 10913830 w 12193196"/>
              <a:gd name="connsiteY78" fmla="*/ 997682 h 4738686"/>
              <a:gd name="connsiteX79" fmla="*/ 10351643 w 12193196"/>
              <a:gd name="connsiteY79" fmla="*/ 997682 h 4738686"/>
              <a:gd name="connsiteX80" fmla="*/ 10280145 w 12193196"/>
              <a:gd name="connsiteY80" fmla="*/ 1065566 h 4738686"/>
              <a:gd name="connsiteX81" fmla="*/ 10363102 w 12193196"/>
              <a:gd name="connsiteY81" fmla="*/ 1142940 h 4738686"/>
              <a:gd name="connsiteX82" fmla="*/ 10409722 w 12193196"/>
              <a:gd name="connsiteY82" fmla="*/ 1135104 h 4738686"/>
              <a:gd name="connsiteX83" fmla="*/ 10411975 w 12193196"/>
              <a:gd name="connsiteY83" fmla="*/ 1134399 h 4738686"/>
              <a:gd name="connsiteX84" fmla="*/ 10411975 w 12193196"/>
              <a:gd name="connsiteY84" fmla="*/ 1115976 h 4738686"/>
              <a:gd name="connsiteX85" fmla="*/ 10408351 w 12193196"/>
              <a:gd name="connsiteY85" fmla="*/ 1117289 h 4738686"/>
              <a:gd name="connsiteX86" fmla="*/ 10378479 w 12193196"/>
              <a:gd name="connsiteY86" fmla="*/ 1122000 h 4738686"/>
              <a:gd name="connsiteX87" fmla="*/ 10321672 w 12193196"/>
              <a:gd name="connsiteY87" fmla="*/ 1057926 h 4738686"/>
              <a:gd name="connsiteX88" fmla="*/ 10414913 w 12193196"/>
              <a:gd name="connsiteY88" fmla="*/ 1057926 h 4738686"/>
              <a:gd name="connsiteX89" fmla="*/ 10414913 w 12193196"/>
              <a:gd name="connsiteY89" fmla="*/ 1055242 h 4738686"/>
              <a:gd name="connsiteX90" fmla="*/ 10351643 w 12193196"/>
              <a:gd name="connsiteY90" fmla="*/ 997682 h 4738686"/>
              <a:gd name="connsiteX91" fmla="*/ 10104241 w 12193196"/>
              <a:gd name="connsiteY91" fmla="*/ 997212 h 4738686"/>
              <a:gd name="connsiteX92" fmla="*/ 10101107 w 12193196"/>
              <a:gd name="connsiteY92" fmla="*/ 997702 h 4738686"/>
              <a:gd name="connsiteX93" fmla="*/ 10040873 w 12193196"/>
              <a:gd name="connsiteY93" fmla="*/ 1007280 h 4738686"/>
              <a:gd name="connsiteX94" fmla="*/ 10040873 w 12193196"/>
              <a:gd name="connsiteY94" fmla="*/ 1017937 h 4738686"/>
              <a:gd name="connsiteX95" fmla="*/ 10043517 w 12193196"/>
              <a:gd name="connsiteY95" fmla="*/ 1018005 h 4738686"/>
              <a:gd name="connsiteX96" fmla="*/ 10066142 w 12193196"/>
              <a:gd name="connsiteY96" fmla="*/ 1040865 h 4738686"/>
              <a:gd name="connsiteX97" fmla="*/ 10066142 w 12193196"/>
              <a:gd name="connsiteY97" fmla="*/ 1139787 h 4738686"/>
              <a:gd name="connsiteX98" fmla="*/ 10104241 w 12193196"/>
              <a:gd name="connsiteY98" fmla="*/ 1139787 h 4738686"/>
              <a:gd name="connsiteX99" fmla="*/ 9914333 w 12193196"/>
              <a:gd name="connsiteY99" fmla="*/ 997212 h 4738686"/>
              <a:gd name="connsiteX100" fmla="*/ 9911199 w 12193196"/>
              <a:gd name="connsiteY100" fmla="*/ 997703 h 4738686"/>
              <a:gd name="connsiteX101" fmla="*/ 9850377 w 12193196"/>
              <a:gd name="connsiteY101" fmla="*/ 1007280 h 4738686"/>
              <a:gd name="connsiteX102" fmla="*/ 9850377 w 12193196"/>
              <a:gd name="connsiteY102" fmla="*/ 1017937 h 4738686"/>
              <a:gd name="connsiteX103" fmla="*/ 9853021 w 12193196"/>
              <a:gd name="connsiteY103" fmla="*/ 1018005 h 4738686"/>
              <a:gd name="connsiteX104" fmla="*/ 9875940 w 12193196"/>
              <a:gd name="connsiteY104" fmla="*/ 1040865 h 4738686"/>
              <a:gd name="connsiteX105" fmla="*/ 9875940 w 12193196"/>
              <a:gd name="connsiteY105" fmla="*/ 1198327 h 4738686"/>
              <a:gd name="connsiteX106" fmla="*/ 9914039 w 12193196"/>
              <a:gd name="connsiteY106" fmla="*/ 1198327 h 4738686"/>
              <a:gd name="connsiteX107" fmla="*/ 9914039 w 12193196"/>
              <a:gd name="connsiteY107" fmla="*/ 1126594 h 4738686"/>
              <a:gd name="connsiteX108" fmla="*/ 9953216 w 12193196"/>
              <a:gd name="connsiteY108" fmla="*/ 1142940 h 4738686"/>
              <a:gd name="connsiteX109" fmla="*/ 10014234 w 12193196"/>
              <a:gd name="connsiteY109" fmla="*/ 1068171 h 4738686"/>
              <a:gd name="connsiteX110" fmla="*/ 9954587 w 12193196"/>
              <a:gd name="connsiteY110" fmla="*/ 997654 h 4738686"/>
              <a:gd name="connsiteX111" fmla="*/ 9954587 w 12193196"/>
              <a:gd name="connsiteY111" fmla="*/ 997682 h 4738686"/>
              <a:gd name="connsiteX112" fmla="*/ 9914333 w 12193196"/>
              <a:gd name="connsiteY112" fmla="*/ 1017339 h 4738686"/>
              <a:gd name="connsiteX113" fmla="*/ 9585052 w 12193196"/>
              <a:gd name="connsiteY113" fmla="*/ 997212 h 4738686"/>
              <a:gd name="connsiteX114" fmla="*/ 9581918 w 12193196"/>
              <a:gd name="connsiteY114" fmla="*/ 997703 h 4738686"/>
              <a:gd name="connsiteX115" fmla="*/ 9520704 w 12193196"/>
              <a:gd name="connsiteY115" fmla="*/ 1007280 h 4738686"/>
              <a:gd name="connsiteX116" fmla="*/ 9520704 w 12193196"/>
              <a:gd name="connsiteY116" fmla="*/ 1017986 h 4738686"/>
              <a:gd name="connsiteX117" fmla="*/ 9523348 w 12193196"/>
              <a:gd name="connsiteY117" fmla="*/ 1017986 h 4738686"/>
              <a:gd name="connsiteX118" fmla="*/ 9546952 w 12193196"/>
              <a:gd name="connsiteY118" fmla="*/ 1040846 h 4738686"/>
              <a:gd name="connsiteX119" fmla="*/ 9546952 w 12193196"/>
              <a:gd name="connsiteY119" fmla="*/ 1139767 h 4738686"/>
              <a:gd name="connsiteX120" fmla="*/ 9585052 w 12193196"/>
              <a:gd name="connsiteY120" fmla="*/ 1139767 h 4738686"/>
              <a:gd name="connsiteX121" fmla="*/ 9585052 w 12193196"/>
              <a:gd name="connsiteY121" fmla="*/ 1066967 h 4738686"/>
              <a:gd name="connsiteX122" fmla="*/ 9622661 w 12193196"/>
              <a:gd name="connsiteY122" fmla="*/ 1022628 h 4738686"/>
              <a:gd name="connsiteX123" fmla="*/ 9641858 w 12193196"/>
              <a:gd name="connsiteY123" fmla="*/ 1062687 h 4738686"/>
              <a:gd name="connsiteX124" fmla="*/ 9641858 w 12193196"/>
              <a:gd name="connsiteY124" fmla="*/ 1139767 h 4738686"/>
              <a:gd name="connsiteX125" fmla="*/ 9680055 w 12193196"/>
              <a:gd name="connsiteY125" fmla="*/ 1139767 h 4738686"/>
              <a:gd name="connsiteX126" fmla="*/ 9680055 w 12193196"/>
              <a:gd name="connsiteY126" fmla="*/ 1040866 h 4738686"/>
              <a:gd name="connsiteX127" fmla="*/ 9637647 w 12193196"/>
              <a:gd name="connsiteY127" fmla="*/ 997682 h 4738686"/>
              <a:gd name="connsiteX128" fmla="*/ 9585052 w 12193196"/>
              <a:gd name="connsiteY128" fmla="*/ 1028230 h 4738686"/>
              <a:gd name="connsiteX129" fmla="*/ 10204730 w 12193196"/>
              <a:gd name="connsiteY129" fmla="*/ 997212 h 4738686"/>
              <a:gd name="connsiteX130" fmla="*/ 10201596 w 12193196"/>
              <a:gd name="connsiteY130" fmla="*/ 997702 h 4738686"/>
              <a:gd name="connsiteX131" fmla="*/ 10140774 w 12193196"/>
              <a:gd name="connsiteY131" fmla="*/ 1007280 h 4738686"/>
              <a:gd name="connsiteX132" fmla="*/ 10140774 w 12193196"/>
              <a:gd name="connsiteY132" fmla="*/ 1017985 h 4738686"/>
              <a:gd name="connsiteX133" fmla="*/ 10143418 w 12193196"/>
              <a:gd name="connsiteY133" fmla="*/ 1017985 h 4738686"/>
              <a:gd name="connsiteX134" fmla="*/ 10166631 w 12193196"/>
              <a:gd name="connsiteY134" fmla="*/ 1040845 h 4738686"/>
              <a:gd name="connsiteX135" fmla="*/ 10166631 w 12193196"/>
              <a:gd name="connsiteY135" fmla="*/ 1139766 h 4738686"/>
              <a:gd name="connsiteX136" fmla="*/ 10204730 w 12193196"/>
              <a:gd name="connsiteY136" fmla="*/ 1139766 h 4738686"/>
              <a:gd name="connsiteX137" fmla="*/ 10204730 w 12193196"/>
              <a:gd name="connsiteY137" fmla="*/ 1068455 h 4738686"/>
              <a:gd name="connsiteX138" fmla="*/ 10237749 w 12193196"/>
              <a:gd name="connsiteY138" fmla="*/ 1028396 h 4738686"/>
              <a:gd name="connsiteX139" fmla="*/ 10244592 w 12193196"/>
              <a:gd name="connsiteY139" fmla="*/ 1028377 h 4738686"/>
              <a:gd name="connsiteX140" fmla="*/ 10257815 w 12193196"/>
              <a:gd name="connsiteY140" fmla="*/ 1030933 h 4738686"/>
              <a:gd name="connsiteX141" fmla="*/ 10263985 w 12193196"/>
              <a:gd name="connsiteY141" fmla="*/ 1032667 h 4738686"/>
              <a:gd name="connsiteX142" fmla="*/ 10263985 w 12193196"/>
              <a:gd name="connsiteY142" fmla="*/ 1029112 h 4738686"/>
              <a:gd name="connsiteX143" fmla="*/ 10263985 w 12193196"/>
              <a:gd name="connsiteY143" fmla="*/ 999484 h 4738686"/>
              <a:gd name="connsiteX144" fmla="*/ 10261732 w 12193196"/>
              <a:gd name="connsiteY144" fmla="*/ 999141 h 4738686"/>
              <a:gd name="connsiteX145" fmla="*/ 10243613 w 12193196"/>
              <a:gd name="connsiteY145" fmla="*/ 997682 h 4738686"/>
              <a:gd name="connsiteX146" fmla="*/ 10204730 w 12193196"/>
              <a:gd name="connsiteY146" fmla="*/ 1025889 h 4738686"/>
              <a:gd name="connsiteX147" fmla="*/ 10548800 w 12193196"/>
              <a:gd name="connsiteY147" fmla="*/ 957712 h 4738686"/>
              <a:gd name="connsiteX148" fmla="*/ 10548800 w 12193196"/>
              <a:gd name="connsiteY148" fmla="*/ 1000943 h 4738686"/>
              <a:gd name="connsiteX149" fmla="*/ 10523237 w 12193196"/>
              <a:gd name="connsiteY149" fmla="*/ 1000943 h 4738686"/>
              <a:gd name="connsiteX150" fmla="*/ 10523237 w 12193196"/>
              <a:gd name="connsiteY150" fmla="*/ 1017828 h 4738686"/>
              <a:gd name="connsiteX151" fmla="*/ 10548800 w 12193196"/>
              <a:gd name="connsiteY151" fmla="*/ 1017828 h 4738686"/>
              <a:gd name="connsiteX152" fmla="*/ 10548800 w 12193196"/>
              <a:gd name="connsiteY152" fmla="*/ 1103283 h 4738686"/>
              <a:gd name="connsiteX153" fmla="*/ 10601199 w 12193196"/>
              <a:gd name="connsiteY153" fmla="*/ 1143028 h 4738686"/>
              <a:gd name="connsiteX154" fmla="*/ 10623627 w 12193196"/>
              <a:gd name="connsiteY154" fmla="*/ 1140697 h 4738686"/>
              <a:gd name="connsiteX155" fmla="*/ 10625880 w 12193196"/>
              <a:gd name="connsiteY155" fmla="*/ 1140364 h 4738686"/>
              <a:gd name="connsiteX156" fmla="*/ 10625880 w 12193196"/>
              <a:gd name="connsiteY156" fmla="*/ 1123146 h 4738686"/>
              <a:gd name="connsiteX157" fmla="*/ 10622648 w 12193196"/>
              <a:gd name="connsiteY157" fmla="*/ 1123880 h 4738686"/>
              <a:gd name="connsiteX158" fmla="*/ 10611091 w 12193196"/>
              <a:gd name="connsiteY158" fmla="*/ 1124977 h 4738686"/>
              <a:gd name="connsiteX159" fmla="*/ 10586899 w 12193196"/>
              <a:gd name="connsiteY159" fmla="*/ 1098690 h 4738686"/>
              <a:gd name="connsiteX160" fmla="*/ 10586899 w 12193196"/>
              <a:gd name="connsiteY160" fmla="*/ 1017809 h 4738686"/>
              <a:gd name="connsiteX161" fmla="*/ 10629798 w 12193196"/>
              <a:gd name="connsiteY161" fmla="*/ 1017809 h 4738686"/>
              <a:gd name="connsiteX162" fmla="*/ 10629798 w 12193196"/>
              <a:gd name="connsiteY162" fmla="*/ 1000923 h 4738686"/>
              <a:gd name="connsiteX163" fmla="*/ 10586899 w 12193196"/>
              <a:gd name="connsiteY163" fmla="*/ 1000923 h 4738686"/>
              <a:gd name="connsiteX164" fmla="*/ 10586899 w 12193196"/>
              <a:gd name="connsiteY164" fmla="*/ 957712 h 4738686"/>
              <a:gd name="connsiteX165" fmla="*/ 11683359 w 12193196"/>
              <a:gd name="connsiteY165" fmla="*/ 957623 h 4738686"/>
              <a:gd name="connsiteX166" fmla="*/ 11683359 w 12193196"/>
              <a:gd name="connsiteY166" fmla="*/ 1000923 h 4738686"/>
              <a:gd name="connsiteX167" fmla="*/ 11657796 w 12193196"/>
              <a:gd name="connsiteY167" fmla="*/ 1000923 h 4738686"/>
              <a:gd name="connsiteX168" fmla="*/ 11657796 w 12193196"/>
              <a:gd name="connsiteY168" fmla="*/ 1017808 h 4738686"/>
              <a:gd name="connsiteX169" fmla="*/ 11683359 w 12193196"/>
              <a:gd name="connsiteY169" fmla="*/ 1017808 h 4738686"/>
              <a:gd name="connsiteX170" fmla="*/ 11683359 w 12193196"/>
              <a:gd name="connsiteY170" fmla="*/ 1103263 h 4738686"/>
              <a:gd name="connsiteX171" fmla="*/ 11735758 w 12193196"/>
              <a:gd name="connsiteY171" fmla="*/ 1143007 h 4738686"/>
              <a:gd name="connsiteX172" fmla="*/ 11758089 w 12193196"/>
              <a:gd name="connsiteY172" fmla="*/ 1140676 h 4738686"/>
              <a:gd name="connsiteX173" fmla="*/ 11760439 w 12193196"/>
              <a:gd name="connsiteY173" fmla="*/ 1140343 h 4738686"/>
              <a:gd name="connsiteX174" fmla="*/ 11760439 w 12193196"/>
              <a:gd name="connsiteY174" fmla="*/ 1123145 h 4738686"/>
              <a:gd name="connsiteX175" fmla="*/ 11757109 w 12193196"/>
              <a:gd name="connsiteY175" fmla="*/ 1123879 h 4738686"/>
              <a:gd name="connsiteX176" fmla="*/ 11745650 w 12193196"/>
              <a:gd name="connsiteY176" fmla="*/ 1124976 h 4738686"/>
              <a:gd name="connsiteX177" fmla="*/ 11721458 w 12193196"/>
              <a:gd name="connsiteY177" fmla="*/ 1098689 h 4738686"/>
              <a:gd name="connsiteX178" fmla="*/ 11721458 w 12193196"/>
              <a:gd name="connsiteY178" fmla="*/ 1017808 h 4738686"/>
              <a:gd name="connsiteX179" fmla="*/ 11764357 w 12193196"/>
              <a:gd name="connsiteY179" fmla="*/ 1017808 h 4738686"/>
              <a:gd name="connsiteX180" fmla="*/ 11764357 w 12193196"/>
              <a:gd name="connsiteY180" fmla="*/ 1000923 h 4738686"/>
              <a:gd name="connsiteX181" fmla="*/ 11721458 w 12193196"/>
              <a:gd name="connsiteY181" fmla="*/ 1000923 h 4738686"/>
              <a:gd name="connsiteX182" fmla="*/ 11721458 w 12193196"/>
              <a:gd name="connsiteY182" fmla="*/ 957623 h 4738686"/>
              <a:gd name="connsiteX183" fmla="*/ 11073573 w 12193196"/>
              <a:gd name="connsiteY183" fmla="*/ 941062 h 4738686"/>
              <a:gd name="connsiteX184" fmla="*/ 11073573 w 12193196"/>
              <a:gd name="connsiteY184" fmla="*/ 952413 h 4738686"/>
              <a:gd name="connsiteX185" fmla="*/ 11081212 w 12193196"/>
              <a:gd name="connsiteY185" fmla="*/ 953686 h 4738686"/>
              <a:gd name="connsiteX186" fmla="*/ 11106384 w 12193196"/>
              <a:gd name="connsiteY186" fmla="*/ 980541 h 4738686"/>
              <a:gd name="connsiteX187" fmla="*/ 11106384 w 12193196"/>
              <a:gd name="connsiteY187" fmla="*/ 1139765 h 4738686"/>
              <a:gd name="connsiteX188" fmla="*/ 11147323 w 12193196"/>
              <a:gd name="connsiteY188" fmla="*/ 1139765 h 4738686"/>
              <a:gd name="connsiteX189" fmla="*/ 11147323 w 12193196"/>
              <a:gd name="connsiteY189" fmla="*/ 981708 h 4738686"/>
              <a:gd name="connsiteX190" fmla="*/ 11251827 w 12193196"/>
              <a:gd name="connsiteY190" fmla="*/ 1139765 h 4738686"/>
              <a:gd name="connsiteX191" fmla="*/ 11302267 w 12193196"/>
              <a:gd name="connsiteY191" fmla="*/ 1139765 h 4738686"/>
              <a:gd name="connsiteX192" fmla="*/ 11302267 w 12193196"/>
              <a:gd name="connsiteY192" fmla="*/ 941062 h 4738686"/>
              <a:gd name="connsiteX193" fmla="*/ 11299623 w 12193196"/>
              <a:gd name="connsiteY193" fmla="*/ 941062 h 4738686"/>
              <a:gd name="connsiteX194" fmla="*/ 11261328 w 12193196"/>
              <a:gd name="connsiteY194" fmla="*/ 941062 h 4738686"/>
              <a:gd name="connsiteX195" fmla="*/ 11261328 w 12193196"/>
              <a:gd name="connsiteY195" fmla="*/ 1091990 h 4738686"/>
              <a:gd name="connsiteX196" fmla="*/ 11161721 w 12193196"/>
              <a:gd name="connsiteY196" fmla="*/ 941062 h 4738686"/>
              <a:gd name="connsiteX197" fmla="*/ 10085829 w 12193196"/>
              <a:gd name="connsiteY197" fmla="*/ 939103 h 4738686"/>
              <a:gd name="connsiteX198" fmla="*/ 10062691 w 12193196"/>
              <a:gd name="connsiteY198" fmla="*/ 957273 h 4738686"/>
              <a:gd name="connsiteX199" fmla="*/ 10080861 w 12193196"/>
              <a:gd name="connsiteY199" fmla="*/ 980411 h 4738686"/>
              <a:gd name="connsiteX200" fmla="*/ 10085535 w 12193196"/>
              <a:gd name="connsiteY200" fmla="*/ 980444 h 4738686"/>
              <a:gd name="connsiteX201" fmla="*/ 10085535 w 12193196"/>
              <a:gd name="connsiteY201" fmla="*/ 980415 h 4738686"/>
              <a:gd name="connsiteX202" fmla="*/ 10109531 w 12193196"/>
              <a:gd name="connsiteY202" fmla="*/ 959583 h 4738686"/>
              <a:gd name="connsiteX203" fmla="*/ 10085829 w 12193196"/>
              <a:gd name="connsiteY203" fmla="*/ 939103 h 4738686"/>
              <a:gd name="connsiteX204" fmla="*/ 9480646 w 12193196"/>
              <a:gd name="connsiteY204" fmla="*/ 937655 h 4738686"/>
              <a:gd name="connsiteX205" fmla="*/ 9477708 w 12193196"/>
              <a:gd name="connsiteY205" fmla="*/ 937919 h 4738686"/>
              <a:gd name="connsiteX206" fmla="*/ 9402293 w 12193196"/>
              <a:gd name="connsiteY206" fmla="*/ 944775 h 4738686"/>
              <a:gd name="connsiteX207" fmla="*/ 9402293 w 12193196"/>
              <a:gd name="connsiteY207" fmla="*/ 955931 h 4738686"/>
              <a:gd name="connsiteX208" fmla="*/ 9404644 w 12193196"/>
              <a:gd name="connsiteY208" fmla="*/ 956225 h 4738686"/>
              <a:gd name="connsiteX209" fmla="*/ 9435006 w 12193196"/>
              <a:gd name="connsiteY209" fmla="*/ 981690 h 4738686"/>
              <a:gd name="connsiteX210" fmla="*/ 9435006 w 12193196"/>
              <a:gd name="connsiteY210" fmla="*/ 1139748 h 4738686"/>
              <a:gd name="connsiteX211" fmla="*/ 9480646 w 12193196"/>
              <a:gd name="connsiteY211" fmla="*/ 1139748 h 4738686"/>
              <a:gd name="connsiteX212" fmla="*/ 10710404 w 12193196"/>
              <a:gd name="connsiteY212" fmla="*/ 932962 h 4738686"/>
              <a:gd name="connsiteX213" fmla="*/ 10707368 w 12193196"/>
              <a:gd name="connsiteY213" fmla="*/ 933364 h 4738686"/>
              <a:gd name="connsiteX214" fmla="*/ 10646644 w 12193196"/>
              <a:gd name="connsiteY214" fmla="*/ 940827 h 4738686"/>
              <a:gd name="connsiteX215" fmla="*/ 10646644 w 12193196"/>
              <a:gd name="connsiteY215" fmla="*/ 951600 h 4738686"/>
              <a:gd name="connsiteX216" fmla="*/ 10649288 w 12193196"/>
              <a:gd name="connsiteY216" fmla="*/ 951688 h 4738686"/>
              <a:gd name="connsiteX217" fmla="*/ 10672207 w 12193196"/>
              <a:gd name="connsiteY217" fmla="*/ 975146 h 4738686"/>
              <a:gd name="connsiteX218" fmla="*/ 10672207 w 12193196"/>
              <a:gd name="connsiteY218" fmla="*/ 1139766 h 4738686"/>
              <a:gd name="connsiteX219" fmla="*/ 10710404 w 12193196"/>
              <a:gd name="connsiteY219" fmla="*/ 1139766 h 4738686"/>
              <a:gd name="connsiteX220" fmla="*/ 10710404 w 12193196"/>
              <a:gd name="connsiteY220" fmla="*/ 1068719 h 4738686"/>
              <a:gd name="connsiteX221" fmla="*/ 10746251 w 12193196"/>
              <a:gd name="connsiteY221" fmla="*/ 1022628 h 4738686"/>
              <a:gd name="connsiteX222" fmla="*/ 10767504 w 12193196"/>
              <a:gd name="connsiteY222" fmla="*/ 1052657 h 4738686"/>
              <a:gd name="connsiteX223" fmla="*/ 10767504 w 12193196"/>
              <a:gd name="connsiteY223" fmla="*/ 1139766 h 4738686"/>
              <a:gd name="connsiteX224" fmla="*/ 10805604 w 12193196"/>
              <a:gd name="connsiteY224" fmla="*/ 1139766 h 4738686"/>
              <a:gd name="connsiteX225" fmla="*/ 10805604 w 12193196"/>
              <a:gd name="connsiteY225" fmla="*/ 1048347 h 4738686"/>
              <a:gd name="connsiteX226" fmla="*/ 10762705 w 12193196"/>
              <a:gd name="connsiteY226" fmla="*/ 997682 h 4738686"/>
              <a:gd name="connsiteX227" fmla="*/ 10710404 w 12193196"/>
              <a:gd name="connsiteY227" fmla="*/ 1028093 h 4738686"/>
              <a:gd name="connsiteX228" fmla="*/ 11691292 w 12193196"/>
              <a:gd name="connsiteY228" fmla="*/ 901218 h 4738686"/>
              <a:gd name="connsiteX229" fmla="*/ 11642419 w 12193196"/>
              <a:gd name="connsiteY229" fmla="*/ 957691 h 4738686"/>
              <a:gd name="connsiteX230" fmla="*/ 11682771 w 12193196"/>
              <a:gd name="connsiteY230" fmla="*/ 957691 h 4738686"/>
              <a:gd name="connsiteX231" fmla="*/ 11731644 w 12193196"/>
              <a:gd name="connsiteY231" fmla="*/ 901218 h 4738686"/>
              <a:gd name="connsiteX232" fmla="*/ 10547331 w 12193196"/>
              <a:gd name="connsiteY232" fmla="*/ 583241 h 4738686"/>
              <a:gd name="connsiteX233" fmla="*/ 10606292 w 12193196"/>
              <a:gd name="connsiteY233" fmla="*/ 728608 h 4738686"/>
              <a:gd name="connsiteX234" fmla="*/ 10488370 w 12193196"/>
              <a:gd name="connsiteY234" fmla="*/ 728608 h 4738686"/>
              <a:gd name="connsiteX235" fmla="*/ 11138508 w 12193196"/>
              <a:gd name="connsiteY235" fmla="*/ 528864 h 4738686"/>
              <a:gd name="connsiteX236" fmla="*/ 11138508 w 12193196"/>
              <a:gd name="connsiteY236" fmla="*/ 848508 h 4738686"/>
              <a:gd name="connsiteX237" fmla="*/ 11223130 w 12193196"/>
              <a:gd name="connsiteY237" fmla="*/ 848508 h 4738686"/>
              <a:gd name="connsiteX238" fmla="*/ 11223130 w 12193196"/>
              <a:gd name="connsiteY238" fmla="*/ 707844 h 4738686"/>
              <a:gd name="connsiteX239" fmla="*/ 11394136 w 12193196"/>
              <a:gd name="connsiteY239" fmla="*/ 707844 h 4738686"/>
              <a:gd name="connsiteX240" fmla="*/ 11394136 w 12193196"/>
              <a:gd name="connsiteY240" fmla="*/ 848508 h 4738686"/>
              <a:gd name="connsiteX241" fmla="*/ 11478856 w 12193196"/>
              <a:gd name="connsiteY241" fmla="*/ 848508 h 4738686"/>
              <a:gd name="connsiteX242" fmla="*/ 11478856 w 12193196"/>
              <a:gd name="connsiteY242" fmla="*/ 528864 h 4738686"/>
              <a:gd name="connsiteX243" fmla="*/ 11394136 w 12193196"/>
              <a:gd name="connsiteY243" fmla="*/ 528864 h 4738686"/>
              <a:gd name="connsiteX244" fmla="*/ 11394136 w 12193196"/>
              <a:gd name="connsiteY244" fmla="*/ 656678 h 4738686"/>
              <a:gd name="connsiteX245" fmla="*/ 11223130 w 12193196"/>
              <a:gd name="connsiteY245" fmla="*/ 656678 h 4738686"/>
              <a:gd name="connsiteX246" fmla="*/ 11223130 w 12193196"/>
              <a:gd name="connsiteY246" fmla="*/ 528864 h 4738686"/>
              <a:gd name="connsiteX247" fmla="*/ 10075937 w 12193196"/>
              <a:gd name="connsiteY247" fmla="*/ 528864 h 4738686"/>
              <a:gd name="connsiteX248" fmla="*/ 10075937 w 12193196"/>
              <a:gd name="connsiteY248" fmla="*/ 583241 h 4738686"/>
              <a:gd name="connsiteX249" fmla="*/ 10205416 w 12193196"/>
              <a:gd name="connsiteY249" fmla="*/ 583241 h 4738686"/>
              <a:gd name="connsiteX250" fmla="*/ 10205416 w 12193196"/>
              <a:gd name="connsiteY250" fmla="*/ 848508 h 4738686"/>
              <a:gd name="connsiteX251" fmla="*/ 10290038 w 12193196"/>
              <a:gd name="connsiteY251" fmla="*/ 848508 h 4738686"/>
              <a:gd name="connsiteX252" fmla="*/ 10290038 w 12193196"/>
              <a:gd name="connsiteY252" fmla="*/ 583241 h 4738686"/>
              <a:gd name="connsiteX253" fmla="*/ 10419517 w 12193196"/>
              <a:gd name="connsiteY253" fmla="*/ 583241 h 4738686"/>
              <a:gd name="connsiteX254" fmla="*/ 10419517 w 12193196"/>
              <a:gd name="connsiteY254" fmla="*/ 528864 h 4738686"/>
              <a:gd name="connsiteX255" fmla="*/ 10075937 w 12193196"/>
              <a:gd name="connsiteY255" fmla="*/ 528864 h 4738686"/>
              <a:gd name="connsiteX256" fmla="*/ 10495421 w 12193196"/>
              <a:gd name="connsiteY256" fmla="*/ 528864 h 4738686"/>
              <a:gd name="connsiteX257" fmla="*/ 10346060 w 12193196"/>
              <a:gd name="connsiteY257" fmla="*/ 848508 h 4738686"/>
              <a:gd name="connsiteX258" fmla="*/ 10440280 w 12193196"/>
              <a:gd name="connsiteY258" fmla="*/ 848508 h 4738686"/>
              <a:gd name="connsiteX259" fmla="*/ 10467998 w 12193196"/>
              <a:gd name="connsiteY259" fmla="*/ 779773 h 4738686"/>
              <a:gd name="connsiteX260" fmla="*/ 10626663 w 12193196"/>
              <a:gd name="connsiteY260" fmla="*/ 779773 h 4738686"/>
              <a:gd name="connsiteX261" fmla="*/ 10654381 w 12193196"/>
              <a:gd name="connsiteY261" fmla="*/ 848508 h 4738686"/>
              <a:gd name="connsiteX262" fmla="*/ 10748699 w 12193196"/>
              <a:gd name="connsiteY262" fmla="*/ 848508 h 4738686"/>
              <a:gd name="connsiteX263" fmla="*/ 10599240 w 12193196"/>
              <a:gd name="connsiteY263" fmla="*/ 528864 h 4738686"/>
              <a:gd name="connsiteX264" fmla="*/ 10495421 w 12193196"/>
              <a:gd name="connsiteY264" fmla="*/ 528864 h 4738686"/>
              <a:gd name="connsiteX265" fmla="*/ 11545848 w 12193196"/>
              <a:gd name="connsiteY265" fmla="*/ 528864 h 4738686"/>
              <a:gd name="connsiteX266" fmla="*/ 11545848 w 12193196"/>
              <a:gd name="connsiteY266" fmla="*/ 848508 h 4738686"/>
              <a:gd name="connsiteX267" fmla="*/ 11630666 w 12193196"/>
              <a:gd name="connsiteY267" fmla="*/ 848508 h 4738686"/>
              <a:gd name="connsiteX268" fmla="*/ 11630666 w 12193196"/>
              <a:gd name="connsiteY268" fmla="*/ 528864 h 4738686"/>
              <a:gd name="connsiteX269" fmla="*/ 9553515 w 12193196"/>
              <a:gd name="connsiteY269" fmla="*/ 528864 h 4738686"/>
              <a:gd name="connsiteX270" fmla="*/ 9553515 w 12193196"/>
              <a:gd name="connsiteY270" fmla="*/ 848508 h 4738686"/>
              <a:gd name="connsiteX271" fmla="*/ 9638235 w 12193196"/>
              <a:gd name="connsiteY271" fmla="*/ 848508 h 4738686"/>
              <a:gd name="connsiteX272" fmla="*/ 9638235 w 12193196"/>
              <a:gd name="connsiteY272" fmla="*/ 707844 h 4738686"/>
              <a:gd name="connsiteX273" fmla="*/ 9809143 w 12193196"/>
              <a:gd name="connsiteY273" fmla="*/ 707844 h 4738686"/>
              <a:gd name="connsiteX274" fmla="*/ 9809143 w 12193196"/>
              <a:gd name="connsiteY274" fmla="*/ 848508 h 4738686"/>
              <a:gd name="connsiteX275" fmla="*/ 9893863 w 12193196"/>
              <a:gd name="connsiteY275" fmla="*/ 848508 h 4738686"/>
              <a:gd name="connsiteX276" fmla="*/ 9893863 w 12193196"/>
              <a:gd name="connsiteY276" fmla="*/ 528864 h 4738686"/>
              <a:gd name="connsiteX277" fmla="*/ 9809143 w 12193196"/>
              <a:gd name="connsiteY277" fmla="*/ 528864 h 4738686"/>
              <a:gd name="connsiteX278" fmla="*/ 9809143 w 12193196"/>
              <a:gd name="connsiteY278" fmla="*/ 656678 h 4738686"/>
              <a:gd name="connsiteX279" fmla="*/ 9638235 w 12193196"/>
              <a:gd name="connsiteY279" fmla="*/ 656678 h 4738686"/>
              <a:gd name="connsiteX280" fmla="*/ 9638235 w 12193196"/>
              <a:gd name="connsiteY280" fmla="*/ 528864 h 4738686"/>
              <a:gd name="connsiteX281" fmla="*/ 9960953 w 12193196"/>
              <a:gd name="connsiteY281" fmla="*/ 528864 h 4738686"/>
              <a:gd name="connsiteX282" fmla="*/ 9960953 w 12193196"/>
              <a:gd name="connsiteY282" fmla="*/ 848508 h 4738686"/>
              <a:gd name="connsiteX283" fmla="*/ 10045673 w 12193196"/>
              <a:gd name="connsiteY283" fmla="*/ 848508 h 4738686"/>
              <a:gd name="connsiteX284" fmla="*/ 10045673 w 12193196"/>
              <a:gd name="connsiteY284" fmla="*/ 528864 h 4738686"/>
              <a:gd name="connsiteX285" fmla="*/ 10929795 w 12193196"/>
              <a:gd name="connsiteY285" fmla="*/ 520972 h 4738686"/>
              <a:gd name="connsiteX286" fmla="*/ 10828914 w 12193196"/>
              <a:gd name="connsiteY286" fmla="*/ 537904 h 4738686"/>
              <a:gd name="connsiteX287" fmla="*/ 10756241 w 12193196"/>
              <a:gd name="connsiteY287" fmla="*/ 598756 h 4738686"/>
              <a:gd name="connsiteX288" fmla="*/ 10734302 w 12193196"/>
              <a:gd name="connsiteY288" fmla="*/ 691800 h 4738686"/>
              <a:gd name="connsiteX289" fmla="*/ 10745663 w 12193196"/>
              <a:gd name="connsiteY289" fmla="*/ 759871 h 4738686"/>
              <a:gd name="connsiteX290" fmla="*/ 10745663 w 12193196"/>
              <a:gd name="connsiteY290" fmla="*/ 759880 h 4738686"/>
              <a:gd name="connsiteX291" fmla="*/ 10836847 w 12193196"/>
              <a:gd name="connsiteY291" fmla="*/ 843130 h 4738686"/>
              <a:gd name="connsiteX292" fmla="*/ 10922840 w 12193196"/>
              <a:gd name="connsiteY292" fmla="*/ 856372 h 4738686"/>
              <a:gd name="connsiteX293" fmla="*/ 11031654 w 12193196"/>
              <a:gd name="connsiteY293" fmla="*/ 834140 h 4738686"/>
              <a:gd name="connsiteX294" fmla="*/ 11090810 w 12193196"/>
              <a:gd name="connsiteY294" fmla="*/ 763621 h 4738686"/>
              <a:gd name="connsiteX295" fmla="*/ 11095120 w 12193196"/>
              <a:gd name="connsiteY295" fmla="*/ 733318 h 4738686"/>
              <a:gd name="connsiteX296" fmla="*/ 11005895 w 12193196"/>
              <a:gd name="connsiteY296" fmla="*/ 733318 h 4738686"/>
              <a:gd name="connsiteX297" fmla="*/ 10998941 w 12193196"/>
              <a:gd name="connsiteY297" fmla="*/ 767598 h 4738686"/>
              <a:gd name="connsiteX298" fmla="*/ 10961919 w 12193196"/>
              <a:gd name="connsiteY298" fmla="*/ 800790 h 4738686"/>
              <a:gd name="connsiteX299" fmla="*/ 10922840 w 12193196"/>
              <a:gd name="connsiteY299" fmla="*/ 806873 h 4738686"/>
              <a:gd name="connsiteX300" fmla="*/ 10877395 w 12193196"/>
              <a:gd name="connsiteY300" fmla="*/ 798460 h 4738686"/>
              <a:gd name="connsiteX301" fmla="*/ 10831167 w 12193196"/>
              <a:gd name="connsiteY301" fmla="*/ 748009 h 4738686"/>
              <a:gd name="connsiteX302" fmla="*/ 10823037 w 12193196"/>
              <a:gd name="connsiteY302" fmla="*/ 691820 h 4738686"/>
              <a:gd name="connsiteX303" fmla="*/ 10834595 w 12193196"/>
              <a:gd name="connsiteY303" fmla="*/ 624553 h 4738686"/>
              <a:gd name="connsiteX304" fmla="*/ 10880921 w 12193196"/>
              <a:gd name="connsiteY304" fmla="*/ 577649 h 4738686"/>
              <a:gd name="connsiteX305" fmla="*/ 10922840 w 12193196"/>
              <a:gd name="connsiteY305" fmla="*/ 570431 h 4738686"/>
              <a:gd name="connsiteX306" fmla="*/ 10959862 w 12193196"/>
              <a:gd name="connsiteY306" fmla="*/ 575964 h 4738686"/>
              <a:gd name="connsiteX307" fmla="*/ 10999627 w 12193196"/>
              <a:gd name="connsiteY307" fmla="*/ 612928 h 4738686"/>
              <a:gd name="connsiteX308" fmla="*/ 11004230 w 12193196"/>
              <a:gd name="connsiteY308" fmla="*/ 637521 h 4738686"/>
              <a:gd name="connsiteX309" fmla="*/ 11093063 w 12193196"/>
              <a:gd name="connsiteY309" fmla="*/ 637521 h 4738686"/>
              <a:gd name="connsiteX310" fmla="*/ 11090027 w 12193196"/>
              <a:gd name="connsiteY310" fmla="*/ 617276 h 4738686"/>
              <a:gd name="connsiteX311" fmla="*/ 11029597 w 12193196"/>
              <a:gd name="connsiteY311" fmla="*/ 543409 h 4738686"/>
              <a:gd name="connsiteX312" fmla="*/ 10929795 w 12193196"/>
              <a:gd name="connsiteY312" fmla="*/ 520972 h 4738686"/>
              <a:gd name="connsiteX313" fmla="*/ 0 w 12193196"/>
              <a:gd name="connsiteY313" fmla="*/ 0 h 4738686"/>
              <a:gd name="connsiteX314" fmla="*/ 12193196 w 12193196"/>
              <a:gd name="connsiteY314" fmla="*/ 0 h 4738686"/>
              <a:gd name="connsiteX315" fmla="*/ 12193196 w 12193196"/>
              <a:gd name="connsiteY315" fmla="*/ 4738686 h 4738686"/>
              <a:gd name="connsiteX316" fmla="*/ 0 w 12193196"/>
              <a:gd name="connsiteY316" fmla="*/ 4738686 h 4738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</a:cxnLst>
            <a:rect l="l" t="t" r="r" b="b"/>
            <a:pathLst>
              <a:path w="12193196" h="4738686">
                <a:moveTo>
                  <a:pt x="9943716" y="1018573"/>
                </a:moveTo>
                <a:lnTo>
                  <a:pt x="9943716" y="1018583"/>
                </a:lnTo>
                <a:cubicBezTo>
                  <a:pt x="9969768" y="1018583"/>
                  <a:pt x="9972804" y="1046888"/>
                  <a:pt x="9972804" y="1068171"/>
                </a:cubicBezTo>
                <a:cubicBezTo>
                  <a:pt x="9972804" y="1104410"/>
                  <a:pt x="9963402" y="1122040"/>
                  <a:pt x="9944107" y="1122040"/>
                </a:cubicBezTo>
                <a:cubicBezTo>
                  <a:pt x="9919230" y="1122040"/>
                  <a:pt x="9914039" y="1098847"/>
                  <a:pt x="9914039" y="1079406"/>
                </a:cubicBezTo>
                <a:lnTo>
                  <a:pt x="9914039" y="1067545"/>
                </a:lnTo>
                <a:cubicBezTo>
                  <a:pt x="9914039" y="1052854"/>
                  <a:pt x="9916977" y="1018573"/>
                  <a:pt x="9943716" y="1018573"/>
                </a:cubicBezTo>
                <a:close/>
                <a:moveTo>
                  <a:pt x="11408435" y="1012941"/>
                </a:moveTo>
                <a:cubicBezTo>
                  <a:pt x="11428807" y="1012941"/>
                  <a:pt x="11434096" y="1027633"/>
                  <a:pt x="11434684" y="1041128"/>
                </a:cubicBezTo>
                <a:lnTo>
                  <a:pt x="11379836" y="1041128"/>
                </a:lnTo>
                <a:cubicBezTo>
                  <a:pt x="11380159" y="1025534"/>
                  <a:pt x="11392843" y="1013033"/>
                  <a:pt x="11408435" y="1012941"/>
                </a:cubicBezTo>
                <a:close/>
                <a:moveTo>
                  <a:pt x="10350271" y="1012834"/>
                </a:moveTo>
                <a:cubicBezTo>
                  <a:pt x="10370741" y="1012834"/>
                  <a:pt x="10376030" y="1027584"/>
                  <a:pt x="10376618" y="1041021"/>
                </a:cubicBezTo>
                <a:lnTo>
                  <a:pt x="10321770" y="1041021"/>
                </a:lnTo>
                <a:cubicBezTo>
                  <a:pt x="10322093" y="1025467"/>
                  <a:pt x="10334714" y="1012983"/>
                  <a:pt x="10350271" y="1012834"/>
                </a:cubicBezTo>
                <a:close/>
                <a:moveTo>
                  <a:pt x="10912556" y="1012833"/>
                </a:moveTo>
                <a:cubicBezTo>
                  <a:pt x="10933026" y="1012833"/>
                  <a:pt x="10938217" y="1027584"/>
                  <a:pt x="10938805" y="1041021"/>
                </a:cubicBezTo>
                <a:lnTo>
                  <a:pt x="10883957" y="1041021"/>
                </a:lnTo>
                <a:cubicBezTo>
                  <a:pt x="10884290" y="1025434"/>
                  <a:pt x="10896964" y="1012941"/>
                  <a:pt x="10912556" y="1012833"/>
                </a:cubicBezTo>
                <a:close/>
                <a:moveTo>
                  <a:pt x="11605397" y="1000835"/>
                </a:moveTo>
                <a:lnTo>
                  <a:pt x="11568179" y="1043841"/>
                </a:lnTo>
                <a:lnTo>
                  <a:pt x="11535270" y="1000923"/>
                </a:lnTo>
                <a:lnTo>
                  <a:pt x="11476897" y="1000923"/>
                </a:lnTo>
                <a:lnTo>
                  <a:pt x="11476897" y="1011922"/>
                </a:lnTo>
                <a:lnTo>
                  <a:pt x="11479443" y="1012079"/>
                </a:lnTo>
                <a:cubicBezTo>
                  <a:pt x="11499326" y="1013430"/>
                  <a:pt x="11503831" y="1016976"/>
                  <a:pt x="11516074" y="1033136"/>
                </a:cubicBezTo>
                <a:lnTo>
                  <a:pt x="11539971" y="1064899"/>
                </a:lnTo>
                <a:lnTo>
                  <a:pt x="11500893" y="1110021"/>
                </a:lnTo>
                <a:lnTo>
                  <a:pt x="11541245" y="1110021"/>
                </a:lnTo>
                <a:lnTo>
                  <a:pt x="11558776" y="1089874"/>
                </a:lnTo>
                <a:lnTo>
                  <a:pt x="11596386" y="1139824"/>
                </a:lnTo>
                <a:lnTo>
                  <a:pt x="11641635" y="1139824"/>
                </a:lnTo>
                <a:lnTo>
                  <a:pt x="11569942" y="1046192"/>
                </a:lnTo>
                <a:lnTo>
                  <a:pt x="11606474" y="1046221"/>
                </a:lnTo>
                <a:lnTo>
                  <a:pt x="11645651" y="1000835"/>
                </a:lnTo>
                <a:close/>
                <a:moveTo>
                  <a:pt x="11409709" y="997750"/>
                </a:moveTo>
                <a:cubicBezTo>
                  <a:pt x="11362305" y="997750"/>
                  <a:pt x="11338211" y="1020600"/>
                  <a:pt x="11338211" y="1065684"/>
                </a:cubicBezTo>
                <a:cubicBezTo>
                  <a:pt x="11338211" y="1114066"/>
                  <a:pt x="11369259" y="1143008"/>
                  <a:pt x="11421168" y="1143008"/>
                </a:cubicBezTo>
                <a:cubicBezTo>
                  <a:pt x="11437024" y="1142934"/>
                  <a:pt x="11452764" y="1140308"/>
                  <a:pt x="11467788" y="1135231"/>
                </a:cubicBezTo>
                <a:lnTo>
                  <a:pt x="11470041" y="1134527"/>
                </a:lnTo>
                <a:lnTo>
                  <a:pt x="11470041" y="1116084"/>
                </a:lnTo>
                <a:lnTo>
                  <a:pt x="11466417" y="1117376"/>
                </a:lnTo>
                <a:cubicBezTo>
                  <a:pt x="11456779" y="1120531"/>
                  <a:pt x="11446691" y="1122122"/>
                  <a:pt x="11436545" y="1122088"/>
                </a:cubicBezTo>
                <a:cubicBezTo>
                  <a:pt x="11395801" y="1122088"/>
                  <a:pt x="11380620" y="1088181"/>
                  <a:pt x="11379738" y="1058034"/>
                </a:cubicBezTo>
                <a:lnTo>
                  <a:pt x="11472979" y="1058034"/>
                </a:lnTo>
                <a:lnTo>
                  <a:pt x="11472979" y="1055330"/>
                </a:lnTo>
                <a:cubicBezTo>
                  <a:pt x="11472979" y="1017133"/>
                  <a:pt x="11451726" y="997750"/>
                  <a:pt x="11409709" y="997750"/>
                </a:cubicBezTo>
                <a:close/>
                <a:moveTo>
                  <a:pt x="9781426" y="997723"/>
                </a:moveTo>
                <a:cubicBezTo>
                  <a:pt x="9745481" y="997723"/>
                  <a:pt x="9724032" y="1013119"/>
                  <a:pt x="9724032" y="1038926"/>
                </a:cubicBezTo>
                <a:cubicBezTo>
                  <a:pt x="9724032" y="1062100"/>
                  <a:pt x="9746265" y="1073031"/>
                  <a:pt x="9765951" y="1082648"/>
                </a:cubicBezTo>
                <a:cubicBezTo>
                  <a:pt x="9781230" y="1090161"/>
                  <a:pt x="9795725" y="1097203"/>
                  <a:pt x="9795725" y="1108378"/>
                </a:cubicBezTo>
                <a:cubicBezTo>
                  <a:pt x="9795725" y="1118877"/>
                  <a:pt x="9786421" y="1124901"/>
                  <a:pt x="9770261" y="1124901"/>
                </a:cubicBezTo>
                <a:cubicBezTo>
                  <a:pt x="9755255" y="1123971"/>
                  <a:pt x="9740791" y="1118948"/>
                  <a:pt x="9728439" y="1110376"/>
                </a:cubicBezTo>
                <a:lnTo>
                  <a:pt x="9724326" y="1107888"/>
                </a:lnTo>
                <a:lnTo>
                  <a:pt x="9724326" y="1137271"/>
                </a:lnTo>
                <a:lnTo>
                  <a:pt x="9727166" y="1137888"/>
                </a:lnTo>
                <a:cubicBezTo>
                  <a:pt x="9740855" y="1141241"/>
                  <a:pt x="9754894" y="1142947"/>
                  <a:pt x="9768987" y="1142971"/>
                </a:cubicBezTo>
                <a:cubicBezTo>
                  <a:pt x="9807576" y="1142971"/>
                  <a:pt x="9830593" y="1127134"/>
                  <a:pt x="9830593" y="1100631"/>
                </a:cubicBezTo>
                <a:cubicBezTo>
                  <a:pt x="9830593" y="1074372"/>
                  <a:pt x="9807381" y="1062982"/>
                  <a:pt x="9786911" y="1052913"/>
                </a:cubicBezTo>
                <a:lnTo>
                  <a:pt x="9786911" y="1052884"/>
                </a:lnTo>
                <a:cubicBezTo>
                  <a:pt x="9771828" y="1045527"/>
                  <a:pt x="9758899" y="1039172"/>
                  <a:pt x="9758899" y="1028779"/>
                </a:cubicBezTo>
                <a:cubicBezTo>
                  <a:pt x="9758899" y="1017026"/>
                  <a:pt x="9773003" y="1015714"/>
                  <a:pt x="9779075" y="1015714"/>
                </a:cubicBezTo>
                <a:cubicBezTo>
                  <a:pt x="9791882" y="1016511"/>
                  <a:pt x="9804235" y="1020760"/>
                  <a:pt x="9814824" y="1028006"/>
                </a:cubicBezTo>
                <a:lnTo>
                  <a:pt x="9820799" y="1031649"/>
                </a:lnTo>
                <a:lnTo>
                  <a:pt x="9820799" y="1003079"/>
                </a:lnTo>
                <a:lnTo>
                  <a:pt x="9816097" y="1002101"/>
                </a:lnTo>
                <a:cubicBezTo>
                  <a:pt x="9804739" y="999359"/>
                  <a:pt x="9793109" y="997890"/>
                  <a:pt x="9781426" y="997723"/>
                </a:cubicBezTo>
                <a:close/>
                <a:moveTo>
                  <a:pt x="10913830" y="997682"/>
                </a:moveTo>
                <a:cubicBezTo>
                  <a:pt x="10866426" y="997682"/>
                  <a:pt x="10842430" y="1020493"/>
                  <a:pt x="10842430" y="1065566"/>
                </a:cubicBezTo>
                <a:cubicBezTo>
                  <a:pt x="10842430" y="1114017"/>
                  <a:pt x="10873380" y="1142940"/>
                  <a:pt x="10925289" y="1142940"/>
                </a:cubicBezTo>
                <a:cubicBezTo>
                  <a:pt x="10941146" y="1142830"/>
                  <a:pt x="10956885" y="1140185"/>
                  <a:pt x="10971909" y="1135104"/>
                </a:cubicBezTo>
                <a:lnTo>
                  <a:pt x="10974162" y="1134399"/>
                </a:lnTo>
                <a:lnTo>
                  <a:pt x="10974162" y="1115976"/>
                </a:lnTo>
                <a:lnTo>
                  <a:pt x="10970538" y="1117289"/>
                </a:lnTo>
                <a:cubicBezTo>
                  <a:pt x="10960910" y="1120484"/>
                  <a:pt x="10950813" y="1122075"/>
                  <a:pt x="10940666" y="1122000"/>
                </a:cubicBezTo>
                <a:cubicBezTo>
                  <a:pt x="10899922" y="1122000"/>
                  <a:pt x="10884741" y="1088122"/>
                  <a:pt x="10883957" y="1057926"/>
                </a:cubicBezTo>
                <a:lnTo>
                  <a:pt x="10977100" y="1057926"/>
                </a:lnTo>
                <a:lnTo>
                  <a:pt x="10977100" y="1055242"/>
                </a:lnTo>
                <a:cubicBezTo>
                  <a:pt x="10977100" y="1017044"/>
                  <a:pt x="10955847" y="997682"/>
                  <a:pt x="10913830" y="997682"/>
                </a:cubicBezTo>
                <a:close/>
                <a:moveTo>
                  <a:pt x="10351643" y="997682"/>
                </a:moveTo>
                <a:cubicBezTo>
                  <a:pt x="10304239" y="997682"/>
                  <a:pt x="10280145" y="1020493"/>
                  <a:pt x="10280145" y="1065566"/>
                </a:cubicBezTo>
                <a:cubicBezTo>
                  <a:pt x="10280145" y="1114017"/>
                  <a:pt x="10311193" y="1142940"/>
                  <a:pt x="10363102" y="1142940"/>
                </a:cubicBezTo>
                <a:cubicBezTo>
                  <a:pt x="10378961" y="1142830"/>
                  <a:pt x="10394698" y="1140185"/>
                  <a:pt x="10409722" y="1135104"/>
                </a:cubicBezTo>
                <a:lnTo>
                  <a:pt x="10411975" y="1134399"/>
                </a:lnTo>
                <a:lnTo>
                  <a:pt x="10411975" y="1115976"/>
                </a:lnTo>
                <a:lnTo>
                  <a:pt x="10408351" y="1117289"/>
                </a:lnTo>
                <a:cubicBezTo>
                  <a:pt x="10398713" y="1120466"/>
                  <a:pt x="10388625" y="1122057"/>
                  <a:pt x="10378479" y="1122000"/>
                </a:cubicBezTo>
                <a:cubicBezTo>
                  <a:pt x="10337735" y="1122000"/>
                  <a:pt x="10322554" y="1088122"/>
                  <a:pt x="10321672" y="1057926"/>
                </a:cubicBezTo>
                <a:lnTo>
                  <a:pt x="10414913" y="1057926"/>
                </a:lnTo>
                <a:lnTo>
                  <a:pt x="10414913" y="1055242"/>
                </a:lnTo>
                <a:cubicBezTo>
                  <a:pt x="10414913" y="1017045"/>
                  <a:pt x="10393660" y="997682"/>
                  <a:pt x="10351643" y="997682"/>
                </a:cubicBezTo>
                <a:close/>
                <a:moveTo>
                  <a:pt x="10104241" y="997212"/>
                </a:moveTo>
                <a:lnTo>
                  <a:pt x="10101107" y="997702"/>
                </a:lnTo>
                <a:lnTo>
                  <a:pt x="10040873" y="1007280"/>
                </a:lnTo>
                <a:lnTo>
                  <a:pt x="10040873" y="1017937"/>
                </a:lnTo>
                <a:lnTo>
                  <a:pt x="10043517" y="1018005"/>
                </a:lnTo>
                <a:cubicBezTo>
                  <a:pt x="10062322" y="1018563"/>
                  <a:pt x="10066142" y="1022432"/>
                  <a:pt x="10066142" y="1040865"/>
                </a:cubicBezTo>
                <a:lnTo>
                  <a:pt x="10066142" y="1139787"/>
                </a:lnTo>
                <a:lnTo>
                  <a:pt x="10104241" y="1139787"/>
                </a:lnTo>
                <a:close/>
                <a:moveTo>
                  <a:pt x="9914333" y="997212"/>
                </a:moveTo>
                <a:lnTo>
                  <a:pt x="9911199" y="997703"/>
                </a:lnTo>
                <a:lnTo>
                  <a:pt x="9850377" y="1007280"/>
                </a:lnTo>
                <a:lnTo>
                  <a:pt x="9850377" y="1017937"/>
                </a:lnTo>
                <a:lnTo>
                  <a:pt x="9853021" y="1018005"/>
                </a:lnTo>
                <a:cubicBezTo>
                  <a:pt x="9872022" y="1018563"/>
                  <a:pt x="9875940" y="1022433"/>
                  <a:pt x="9875940" y="1040865"/>
                </a:cubicBezTo>
                <a:lnTo>
                  <a:pt x="9875940" y="1198327"/>
                </a:lnTo>
                <a:lnTo>
                  <a:pt x="9914039" y="1198327"/>
                </a:lnTo>
                <a:lnTo>
                  <a:pt x="9914039" y="1126594"/>
                </a:lnTo>
                <a:cubicBezTo>
                  <a:pt x="9923719" y="1138012"/>
                  <a:pt x="9938291" y="1144094"/>
                  <a:pt x="9953216" y="1142940"/>
                </a:cubicBezTo>
                <a:cubicBezTo>
                  <a:pt x="9993176" y="1142940"/>
                  <a:pt x="10014234" y="1117064"/>
                  <a:pt x="10014234" y="1068171"/>
                </a:cubicBezTo>
                <a:cubicBezTo>
                  <a:pt x="10014234" y="1023334"/>
                  <a:pt x="9992491" y="997654"/>
                  <a:pt x="9954587" y="997654"/>
                </a:cubicBezTo>
                <a:lnTo>
                  <a:pt x="9954587" y="997682"/>
                </a:lnTo>
                <a:cubicBezTo>
                  <a:pt x="9939027" y="998380"/>
                  <a:pt x="9924452" y="1005498"/>
                  <a:pt x="9914333" y="1017339"/>
                </a:cubicBezTo>
                <a:close/>
                <a:moveTo>
                  <a:pt x="9585052" y="997212"/>
                </a:moveTo>
                <a:lnTo>
                  <a:pt x="9581918" y="997703"/>
                </a:lnTo>
                <a:lnTo>
                  <a:pt x="9520704" y="1007280"/>
                </a:lnTo>
                <a:lnTo>
                  <a:pt x="9520704" y="1017986"/>
                </a:lnTo>
                <a:lnTo>
                  <a:pt x="9523348" y="1017986"/>
                </a:lnTo>
                <a:cubicBezTo>
                  <a:pt x="9542741" y="1018545"/>
                  <a:pt x="9546952" y="1022609"/>
                  <a:pt x="9546952" y="1040846"/>
                </a:cubicBezTo>
                <a:lnTo>
                  <a:pt x="9546952" y="1139767"/>
                </a:lnTo>
                <a:lnTo>
                  <a:pt x="9585052" y="1139767"/>
                </a:lnTo>
                <a:lnTo>
                  <a:pt x="9585052" y="1066967"/>
                </a:lnTo>
                <a:cubicBezTo>
                  <a:pt x="9585052" y="1047623"/>
                  <a:pt x="9603269" y="1022628"/>
                  <a:pt x="9622661" y="1022628"/>
                </a:cubicBezTo>
                <a:cubicBezTo>
                  <a:pt x="9640879" y="1022628"/>
                  <a:pt x="9641858" y="1037849"/>
                  <a:pt x="9641858" y="1062687"/>
                </a:cubicBezTo>
                <a:lnTo>
                  <a:pt x="9641858" y="1139767"/>
                </a:lnTo>
                <a:lnTo>
                  <a:pt x="9680055" y="1139767"/>
                </a:lnTo>
                <a:lnTo>
                  <a:pt x="9680055" y="1040866"/>
                </a:lnTo>
                <a:cubicBezTo>
                  <a:pt x="9680055" y="1013011"/>
                  <a:pt x="9664972" y="997682"/>
                  <a:pt x="9637647" y="997682"/>
                </a:cubicBezTo>
                <a:cubicBezTo>
                  <a:pt x="9616043" y="998193"/>
                  <a:pt x="9596200" y="1009718"/>
                  <a:pt x="9585052" y="1028230"/>
                </a:cubicBezTo>
                <a:close/>
                <a:moveTo>
                  <a:pt x="10204730" y="997212"/>
                </a:moveTo>
                <a:lnTo>
                  <a:pt x="10201596" y="997702"/>
                </a:lnTo>
                <a:lnTo>
                  <a:pt x="10140774" y="1007280"/>
                </a:lnTo>
                <a:lnTo>
                  <a:pt x="10140774" y="1017985"/>
                </a:lnTo>
                <a:lnTo>
                  <a:pt x="10143418" y="1017985"/>
                </a:lnTo>
                <a:cubicBezTo>
                  <a:pt x="10162713" y="1018544"/>
                  <a:pt x="10166631" y="1022412"/>
                  <a:pt x="10166631" y="1040845"/>
                </a:cubicBezTo>
                <a:lnTo>
                  <a:pt x="10166631" y="1139766"/>
                </a:lnTo>
                <a:lnTo>
                  <a:pt x="10204730" y="1139766"/>
                </a:lnTo>
                <a:lnTo>
                  <a:pt x="10204730" y="1068455"/>
                </a:lnTo>
                <a:cubicBezTo>
                  <a:pt x="10202786" y="1048275"/>
                  <a:pt x="10217569" y="1030340"/>
                  <a:pt x="10237749" y="1028396"/>
                </a:cubicBezTo>
                <a:cubicBezTo>
                  <a:pt x="10240025" y="1028176"/>
                  <a:pt x="10242316" y="1028170"/>
                  <a:pt x="10244592" y="1028377"/>
                </a:cubicBezTo>
                <a:cubicBezTo>
                  <a:pt x="10249094" y="1028635"/>
                  <a:pt x="10253541" y="1029494"/>
                  <a:pt x="10257815" y="1030933"/>
                </a:cubicBezTo>
                <a:lnTo>
                  <a:pt x="10263985" y="1032667"/>
                </a:lnTo>
                <a:lnTo>
                  <a:pt x="10263985" y="1029112"/>
                </a:lnTo>
                <a:lnTo>
                  <a:pt x="10263985" y="999484"/>
                </a:lnTo>
                <a:lnTo>
                  <a:pt x="10261732" y="999141"/>
                </a:lnTo>
                <a:cubicBezTo>
                  <a:pt x="10255737" y="998203"/>
                  <a:pt x="10249680" y="997715"/>
                  <a:pt x="10243613" y="997682"/>
                </a:cubicBezTo>
                <a:cubicBezTo>
                  <a:pt x="10226159" y="998411"/>
                  <a:pt x="10210840" y="1009523"/>
                  <a:pt x="10204730" y="1025889"/>
                </a:cubicBezTo>
                <a:close/>
                <a:moveTo>
                  <a:pt x="10548800" y="957712"/>
                </a:moveTo>
                <a:lnTo>
                  <a:pt x="10548800" y="1000943"/>
                </a:lnTo>
                <a:lnTo>
                  <a:pt x="10523237" y="1000943"/>
                </a:lnTo>
                <a:lnTo>
                  <a:pt x="10523237" y="1017828"/>
                </a:lnTo>
                <a:lnTo>
                  <a:pt x="10548800" y="1017828"/>
                </a:lnTo>
                <a:lnTo>
                  <a:pt x="10548800" y="1103283"/>
                </a:lnTo>
                <a:cubicBezTo>
                  <a:pt x="10548800" y="1140080"/>
                  <a:pt x="10572502" y="1143028"/>
                  <a:pt x="10601199" y="1143028"/>
                </a:cubicBezTo>
                <a:cubicBezTo>
                  <a:pt x="10608721" y="1142852"/>
                  <a:pt x="10616223" y="1142072"/>
                  <a:pt x="10623627" y="1140697"/>
                </a:cubicBezTo>
                <a:lnTo>
                  <a:pt x="10625880" y="1140364"/>
                </a:lnTo>
                <a:lnTo>
                  <a:pt x="10625880" y="1123146"/>
                </a:lnTo>
                <a:lnTo>
                  <a:pt x="10622648" y="1123880"/>
                </a:lnTo>
                <a:cubicBezTo>
                  <a:pt x="10618848" y="1124646"/>
                  <a:pt x="10614969" y="1125014"/>
                  <a:pt x="10611091" y="1124977"/>
                </a:cubicBezTo>
                <a:cubicBezTo>
                  <a:pt x="10588173" y="1124977"/>
                  <a:pt x="10586899" y="1118219"/>
                  <a:pt x="10586899" y="1098690"/>
                </a:cubicBezTo>
                <a:lnTo>
                  <a:pt x="10586899" y="1017809"/>
                </a:lnTo>
                <a:lnTo>
                  <a:pt x="10629798" y="1017809"/>
                </a:lnTo>
                <a:lnTo>
                  <a:pt x="10629798" y="1000923"/>
                </a:lnTo>
                <a:lnTo>
                  <a:pt x="10586899" y="1000923"/>
                </a:lnTo>
                <a:lnTo>
                  <a:pt x="10586899" y="957712"/>
                </a:lnTo>
                <a:close/>
                <a:moveTo>
                  <a:pt x="11683359" y="957623"/>
                </a:moveTo>
                <a:lnTo>
                  <a:pt x="11683359" y="1000923"/>
                </a:lnTo>
                <a:lnTo>
                  <a:pt x="11657796" y="1000923"/>
                </a:lnTo>
                <a:lnTo>
                  <a:pt x="11657796" y="1017808"/>
                </a:lnTo>
                <a:lnTo>
                  <a:pt x="11683359" y="1017808"/>
                </a:lnTo>
                <a:lnTo>
                  <a:pt x="11683359" y="1103263"/>
                </a:lnTo>
                <a:cubicBezTo>
                  <a:pt x="11683359" y="1140059"/>
                  <a:pt x="11707061" y="1143007"/>
                  <a:pt x="11735758" y="1143007"/>
                </a:cubicBezTo>
                <a:cubicBezTo>
                  <a:pt x="11743250" y="1142836"/>
                  <a:pt x="11750723" y="1142056"/>
                  <a:pt x="11758089" y="1140676"/>
                </a:cubicBezTo>
                <a:lnTo>
                  <a:pt x="11760439" y="1140343"/>
                </a:lnTo>
                <a:lnTo>
                  <a:pt x="11760439" y="1123145"/>
                </a:lnTo>
                <a:lnTo>
                  <a:pt x="11757109" y="1123879"/>
                </a:lnTo>
                <a:cubicBezTo>
                  <a:pt x="11753338" y="1124651"/>
                  <a:pt x="11749499" y="1125018"/>
                  <a:pt x="11745650" y="1124976"/>
                </a:cubicBezTo>
                <a:cubicBezTo>
                  <a:pt x="11722634" y="1124976"/>
                  <a:pt x="11721458" y="1118218"/>
                  <a:pt x="11721458" y="1098689"/>
                </a:cubicBezTo>
                <a:lnTo>
                  <a:pt x="11721458" y="1017808"/>
                </a:lnTo>
                <a:lnTo>
                  <a:pt x="11764357" y="1017808"/>
                </a:lnTo>
                <a:lnTo>
                  <a:pt x="11764357" y="1000923"/>
                </a:lnTo>
                <a:lnTo>
                  <a:pt x="11721458" y="1000923"/>
                </a:lnTo>
                <a:lnTo>
                  <a:pt x="11721458" y="957623"/>
                </a:lnTo>
                <a:close/>
                <a:moveTo>
                  <a:pt x="11073573" y="941062"/>
                </a:moveTo>
                <a:lnTo>
                  <a:pt x="11073573" y="952413"/>
                </a:lnTo>
                <a:lnTo>
                  <a:pt x="11081212" y="953686"/>
                </a:lnTo>
                <a:cubicBezTo>
                  <a:pt x="11104425" y="957603"/>
                  <a:pt x="11106384" y="957927"/>
                  <a:pt x="11106384" y="980541"/>
                </a:cubicBezTo>
                <a:lnTo>
                  <a:pt x="11106384" y="1139765"/>
                </a:lnTo>
                <a:lnTo>
                  <a:pt x="11147323" y="1139765"/>
                </a:lnTo>
                <a:lnTo>
                  <a:pt x="11147323" y="981708"/>
                </a:lnTo>
                <a:lnTo>
                  <a:pt x="11251827" y="1139765"/>
                </a:lnTo>
                <a:lnTo>
                  <a:pt x="11302267" y="1139765"/>
                </a:lnTo>
                <a:lnTo>
                  <a:pt x="11302267" y="941062"/>
                </a:lnTo>
                <a:lnTo>
                  <a:pt x="11299623" y="941062"/>
                </a:lnTo>
                <a:lnTo>
                  <a:pt x="11261328" y="941062"/>
                </a:lnTo>
                <a:lnTo>
                  <a:pt x="11261328" y="1091990"/>
                </a:lnTo>
                <a:cubicBezTo>
                  <a:pt x="11253492" y="1080022"/>
                  <a:pt x="11161721" y="941062"/>
                  <a:pt x="11161721" y="941062"/>
                </a:cubicBezTo>
                <a:close/>
                <a:moveTo>
                  <a:pt x="10085829" y="939103"/>
                </a:moveTo>
                <a:cubicBezTo>
                  <a:pt x="10074421" y="937731"/>
                  <a:pt x="10064062" y="945866"/>
                  <a:pt x="10062691" y="957273"/>
                </a:cubicBezTo>
                <a:cubicBezTo>
                  <a:pt x="10061319" y="968679"/>
                  <a:pt x="10069454" y="979039"/>
                  <a:pt x="10080861" y="980411"/>
                </a:cubicBezTo>
                <a:cubicBezTo>
                  <a:pt x="10082413" y="980598"/>
                  <a:pt x="10083981" y="980609"/>
                  <a:pt x="10085535" y="980444"/>
                </a:cubicBezTo>
                <a:lnTo>
                  <a:pt x="10085535" y="980415"/>
                </a:lnTo>
                <a:cubicBezTo>
                  <a:pt x="10097883" y="981196"/>
                  <a:pt x="10108570" y="971918"/>
                  <a:pt x="10109531" y="959583"/>
                </a:cubicBezTo>
                <a:cubicBezTo>
                  <a:pt x="10108536" y="947436"/>
                  <a:pt x="10097992" y="938325"/>
                  <a:pt x="10085829" y="939103"/>
                </a:cubicBezTo>
                <a:close/>
                <a:moveTo>
                  <a:pt x="9480646" y="937655"/>
                </a:moveTo>
                <a:lnTo>
                  <a:pt x="9477708" y="937919"/>
                </a:lnTo>
                <a:lnTo>
                  <a:pt x="9402293" y="944775"/>
                </a:lnTo>
                <a:lnTo>
                  <a:pt x="9402293" y="955931"/>
                </a:lnTo>
                <a:lnTo>
                  <a:pt x="9404644" y="956225"/>
                </a:lnTo>
                <a:cubicBezTo>
                  <a:pt x="9435006" y="959800"/>
                  <a:pt x="9435006" y="959800"/>
                  <a:pt x="9435006" y="981690"/>
                </a:cubicBezTo>
                <a:lnTo>
                  <a:pt x="9435006" y="1139748"/>
                </a:lnTo>
                <a:lnTo>
                  <a:pt x="9480646" y="1139748"/>
                </a:lnTo>
                <a:close/>
                <a:moveTo>
                  <a:pt x="10710404" y="932962"/>
                </a:moveTo>
                <a:lnTo>
                  <a:pt x="10707368" y="933364"/>
                </a:lnTo>
                <a:lnTo>
                  <a:pt x="10646644" y="940827"/>
                </a:lnTo>
                <a:lnTo>
                  <a:pt x="10646644" y="951600"/>
                </a:lnTo>
                <a:lnTo>
                  <a:pt x="10649288" y="951688"/>
                </a:lnTo>
                <a:cubicBezTo>
                  <a:pt x="10668191" y="952531"/>
                  <a:pt x="10672207" y="956683"/>
                  <a:pt x="10672207" y="975146"/>
                </a:cubicBezTo>
                <a:lnTo>
                  <a:pt x="10672207" y="1139766"/>
                </a:lnTo>
                <a:lnTo>
                  <a:pt x="10710404" y="1139766"/>
                </a:lnTo>
                <a:lnTo>
                  <a:pt x="10710404" y="1068719"/>
                </a:lnTo>
                <a:cubicBezTo>
                  <a:pt x="10710404" y="1042755"/>
                  <a:pt x="10729699" y="1022628"/>
                  <a:pt x="10746251" y="1022628"/>
                </a:cubicBezTo>
                <a:cubicBezTo>
                  <a:pt x="10767504" y="1022628"/>
                  <a:pt x="10767504" y="1038553"/>
                  <a:pt x="10767504" y="1052657"/>
                </a:cubicBezTo>
                <a:lnTo>
                  <a:pt x="10767504" y="1139766"/>
                </a:lnTo>
                <a:lnTo>
                  <a:pt x="10805604" y="1139766"/>
                </a:lnTo>
                <a:lnTo>
                  <a:pt x="10805604" y="1048347"/>
                </a:lnTo>
                <a:cubicBezTo>
                  <a:pt x="10805604" y="1033157"/>
                  <a:pt x="10805604" y="997682"/>
                  <a:pt x="10762705" y="997682"/>
                </a:cubicBezTo>
                <a:cubicBezTo>
                  <a:pt x="10741089" y="997754"/>
                  <a:pt x="10721158" y="1009345"/>
                  <a:pt x="10710404" y="1028093"/>
                </a:cubicBezTo>
                <a:close/>
                <a:moveTo>
                  <a:pt x="11691292" y="901218"/>
                </a:moveTo>
                <a:lnTo>
                  <a:pt x="11642419" y="957691"/>
                </a:lnTo>
                <a:lnTo>
                  <a:pt x="11682771" y="957691"/>
                </a:lnTo>
                <a:lnTo>
                  <a:pt x="11731644" y="901218"/>
                </a:lnTo>
                <a:close/>
                <a:moveTo>
                  <a:pt x="10547331" y="583241"/>
                </a:moveTo>
                <a:lnTo>
                  <a:pt x="10606292" y="728608"/>
                </a:lnTo>
                <a:lnTo>
                  <a:pt x="10488370" y="728608"/>
                </a:lnTo>
                <a:close/>
                <a:moveTo>
                  <a:pt x="11138508" y="528864"/>
                </a:moveTo>
                <a:cubicBezTo>
                  <a:pt x="11138998" y="528864"/>
                  <a:pt x="11138508" y="848508"/>
                  <a:pt x="11138508" y="848508"/>
                </a:cubicBezTo>
                <a:lnTo>
                  <a:pt x="11223130" y="848508"/>
                </a:lnTo>
                <a:cubicBezTo>
                  <a:pt x="11223130" y="848596"/>
                  <a:pt x="11223228" y="708373"/>
                  <a:pt x="11223130" y="707844"/>
                </a:cubicBezTo>
                <a:cubicBezTo>
                  <a:pt x="11223130" y="707844"/>
                  <a:pt x="11394136" y="708236"/>
                  <a:pt x="11394136" y="707844"/>
                </a:cubicBezTo>
                <a:lnTo>
                  <a:pt x="11394136" y="848508"/>
                </a:lnTo>
                <a:cubicBezTo>
                  <a:pt x="11394234" y="848508"/>
                  <a:pt x="11478758" y="848508"/>
                  <a:pt x="11478856" y="848508"/>
                </a:cubicBezTo>
                <a:cubicBezTo>
                  <a:pt x="11479150" y="848156"/>
                  <a:pt x="11478856" y="528864"/>
                  <a:pt x="11478856" y="528864"/>
                </a:cubicBezTo>
                <a:cubicBezTo>
                  <a:pt x="11477974" y="528864"/>
                  <a:pt x="11394038" y="528864"/>
                  <a:pt x="11394136" y="528864"/>
                </a:cubicBezTo>
                <a:cubicBezTo>
                  <a:pt x="11394038" y="528835"/>
                  <a:pt x="11394136" y="657149"/>
                  <a:pt x="11394136" y="656678"/>
                </a:cubicBezTo>
                <a:lnTo>
                  <a:pt x="11223130" y="656678"/>
                </a:lnTo>
                <a:lnTo>
                  <a:pt x="11223130" y="528864"/>
                </a:lnTo>
                <a:close/>
                <a:moveTo>
                  <a:pt x="10075937" y="528864"/>
                </a:moveTo>
                <a:cubicBezTo>
                  <a:pt x="10076133" y="528933"/>
                  <a:pt x="10075937" y="583241"/>
                  <a:pt x="10075937" y="583241"/>
                </a:cubicBezTo>
                <a:lnTo>
                  <a:pt x="10205416" y="583241"/>
                </a:lnTo>
                <a:lnTo>
                  <a:pt x="10205416" y="848508"/>
                </a:lnTo>
                <a:lnTo>
                  <a:pt x="10290038" y="848508"/>
                </a:lnTo>
                <a:lnTo>
                  <a:pt x="10290038" y="583241"/>
                </a:lnTo>
                <a:lnTo>
                  <a:pt x="10419517" y="583241"/>
                </a:lnTo>
                <a:lnTo>
                  <a:pt x="10419517" y="528864"/>
                </a:lnTo>
                <a:cubicBezTo>
                  <a:pt x="10419517" y="528864"/>
                  <a:pt x="10076133" y="528933"/>
                  <a:pt x="10075937" y="528864"/>
                </a:cubicBezTo>
                <a:close/>
                <a:moveTo>
                  <a:pt x="10495421" y="528864"/>
                </a:moveTo>
                <a:lnTo>
                  <a:pt x="10346060" y="848508"/>
                </a:lnTo>
                <a:cubicBezTo>
                  <a:pt x="10346060" y="848508"/>
                  <a:pt x="10440378" y="848596"/>
                  <a:pt x="10440280" y="848508"/>
                </a:cubicBezTo>
                <a:cubicBezTo>
                  <a:pt x="10440672" y="848596"/>
                  <a:pt x="10467998" y="779773"/>
                  <a:pt x="10467998" y="779773"/>
                </a:cubicBezTo>
                <a:lnTo>
                  <a:pt x="10626663" y="779773"/>
                </a:lnTo>
                <a:cubicBezTo>
                  <a:pt x="10626663" y="779773"/>
                  <a:pt x="10654479" y="848508"/>
                  <a:pt x="10654381" y="848508"/>
                </a:cubicBezTo>
                <a:cubicBezTo>
                  <a:pt x="10653793" y="848508"/>
                  <a:pt x="10748895" y="848508"/>
                  <a:pt x="10748699" y="848508"/>
                </a:cubicBezTo>
                <a:lnTo>
                  <a:pt x="10599240" y="528864"/>
                </a:lnTo>
                <a:cubicBezTo>
                  <a:pt x="10599240" y="528864"/>
                  <a:pt x="10495421" y="529060"/>
                  <a:pt x="10495421" y="528864"/>
                </a:cubicBezTo>
                <a:close/>
                <a:moveTo>
                  <a:pt x="11545848" y="528864"/>
                </a:moveTo>
                <a:lnTo>
                  <a:pt x="11545848" y="848508"/>
                </a:lnTo>
                <a:lnTo>
                  <a:pt x="11630666" y="848508"/>
                </a:lnTo>
                <a:lnTo>
                  <a:pt x="11630666" y="528864"/>
                </a:lnTo>
                <a:close/>
                <a:moveTo>
                  <a:pt x="9553515" y="528864"/>
                </a:moveTo>
                <a:cubicBezTo>
                  <a:pt x="9554005" y="528864"/>
                  <a:pt x="9553515" y="848508"/>
                  <a:pt x="9553515" y="848508"/>
                </a:cubicBezTo>
                <a:lnTo>
                  <a:pt x="9638235" y="848508"/>
                </a:lnTo>
                <a:cubicBezTo>
                  <a:pt x="9638137" y="848596"/>
                  <a:pt x="9638333" y="708372"/>
                  <a:pt x="9638235" y="707844"/>
                </a:cubicBezTo>
                <a:cubicBezTo>
                  <a:pt x="9638235" y="707844"/>
                  <a:pt x="9809143" y="708235"/>
                  <a:pt x="9809143" y="707844"/>
                </a:cubicBezTo>
                <a:lnTo>
                  <a:pt x="9809143" y="848508"/>
                </a:lnTo>
                <a:cubicBezTo>
                  <a:pt x="9809241" y="848508"/>
                  <a:pt x="9893765" y="848508"/>
                  <a:pt x="9893863" y="848508"/>
                </a:cubicBezTo>
                <a:cubicBezTo>
                  <a:pt x="9894157" y="848156"/>
                  <a:pt x="9893863" y="528864"/>
                  <a:pt x="9893863" y="528864"/>
                </a:cubicBezTo>
                <a:cubicBezTo>
                  <a:pt x="9892982" y="528864"/>
                  <a:pt x="9809045" y="528864"/>
                  <a:pt x="9809143" y="528864"/>
                </a:cubicBezTo>
                <a:cubicBezTo>
                  <a:pt x="9809045" y="528835"/>
                  <a:pt x="9809143" y="657149"/>
                  <a:pt x="9809143" y="656678"/>
                </a:cubicBezTo>
                <a:lnTo>
                  <a:pt x="9638235" y="656678"/>
                </a:lnTo>
                <a:cubicBezTo>
                  <a:pt x="9638137" y="657589"/>
                  <a:pt x="9638235" y="528864"/>
                  <a:pt x="9638235" y="528864"/>
                </a:cubicBezTo>
                <a:close/>
                <a:moveTo>
                  <a:pt x="9960953" y="528864"/>
                </a:moveTo>
                <a:lnTo>
                  <a:pt x="9960953" y="848508"/>
                </a:lnTo>
                <a:lnTo>
                  <a:pt x="10045673" y="848508"/>
                </a:lnTo>
                <a:lnTo>
                  <a:pt x="10045673" y="528864"/>
                </a:lnTo>
                <a:close/>
                <a:moveTo>
                  <a:pt x="10929795" y="520972"/>
                </a:moveTo>
                <a:cubicBezTo>
                  <a:pt x="10895705" y="520037"/>
                  <a:pt x="10861435" y="525663"/>
                  <a:pt x="10828914" y="537904"/>
                </a:cubicBezTo>
                <a:cubicBezTo>
                  <a:pt x="10798464" y="549314"/>
                  <a:pt x="10772823" y="570783"/>
                  <a:pt x="10756241" y="598756"/>
                </a:cubicBezTo>
                <a:cubicBezTo>
                  <a:pt x="10740717" y="627243"/>
                  <a:pt x="10733146" y="659380"/>
                  <a:pt x="10734302" y="691800"/>
                </a:cubicBezTo>
                <a:cubicBezTo>
                  <a:pt x="10734233" y="714967"/>
                  <a:pt x="10738073" y="737980"/>
                  <a:pt x="10745663" y="759871"/>
                </a:cubicBezTo>
                <a:lnTo>
                  <a:pt x="10745663" y="759880"/>
                </a:lnTo>
                <a:cubicBezTo>
                  <a:pt x="10761403" y="800341"/>
                  <a:pt x="10795124" y="831133"/>
                  <a:pt x="10836847" y="843130"/>
                </a:cubicBezTo>
                <a:cubicBezTo>
                  <a:pt x="10864672" y="851890"/>
                  <a:pt x="10893673" y="856355"/>
                  <a:pt x="10922840" y="856372"/>
                </a:cubicBezTo>
                <a:cubicBezTo>
                  <a:pt x="10960234" y="856306"/>
                  <a:pt x="10997237" y="848747"/>
                  <a:pt x="11031654" y="834140"/>
                </a:cubicBezTo>
                <a:cubicBezTo>
                  <a:pt x="11061389" y="821282"/>
                  <a:pt x="11083318" y="795144"/>
                  <a:pt x="11090810" y="763621"/>
                </a:cubicBezTo>
                <a:cubicBezTo>
                  <a:pt x="11093210" y="753680"/>
                  <a:pt x="11094650" y="743533"/>
                  <a:pt x="11095120" y="733318"/>
                </a:cubicBezTo>
                <a:lnTo>
                  <a:pt x="11005895" y="733318"/>
                </a:lnTo>
                <a:cubicBezTo>
                  <a:pt x="11005993" y="745104"/>
                  <a:pt x="11003623" y="756780"/>
                  <a:pt x="10998941" y="767598"/>
                </a:cubicBezTo>
                <a:cubicBezTo>
                  <a:pt x="10991918" y="783450"/>
                  <a:pt x="10978442" y="795534"/>
                  <a:pt x="10961919" y="800790"/>
                </a:cubicBezTo>
                <a:cubicBezTo>
                  <a:pt x="10949294" y="804866"/>
                  <a:pt x="10936101" y="806919"/>
                  <a:pt x="10922840" y="806873"/>
                </a:cubicBezTo>
                <a:cubicBezTo>
                  <a:pt x="10907307" y="806833"/>
                  <a:pt x="10891910" y="803983"/>
                  <a:pt x="10877395" y="798460"/>
                </a:cubicBezTo>
                <a:cubicBezTo>
                  <a:pt x="10854849" y="789938"/>
                  <a:pt x="10837689" y="771214"/>
                  <a:pt x="10831167" y="748009"/>
                </a:cubicBezTo>
                <a:cubicBezTo>
                  <a:pt x="10825907" y="729738"/>
                  <a:pt x="10823175" y="710832"/>
                  <a:pt x="10823037" y="691820"/>
                </a:cubicBezTo>
                <a:cubicBezTo>
                  <a:pt x="10823086" y="668907"/>
                  <a:pt x="10826994" y="646167"/>
                  <a:pt x="10834595" y="624553"/>
                </a:cubicBezTo>
                <a:cubicBezTo>
                  <a:pt x="10842165" y="602725"/>
                  <a:pt x="10859188" y="585486"/>
                  <a:pt x="10880921" y="577649"/>
                </a:cubicBezTo>
                <a:cubicBezTo>
                  <a:pt x="10894378" y="572858"/>
                  <a:pt x="10908560" y="570417"/>
                  <a:pt x="10922840" y="570431"/>
                </a:cubicBezTo>
                <a:cubicBezTo>
                  <a:pt x="10935387" y="570428"/>
                  <a:pt x="10947864" y="572293"/>
                  <a:pt x="10959862" y="575964"/>
                </a:cubicBezTo>
                <a:cubicBezTo>
                  <a:pt x="10978118" y="581479"/>
                  <a:pt x="10992800" y="595124"/>
                  <a:pt x="10999627" y="612928"/>
                </a:cubicBezTo>
                <a:cubicBezTo>
                  <a:pt x="11002506" y="620816"/>
                  <a:pt x="11004063" y="629125"/>
                  <a:pt x="11004230" y="637521"/>
                </a:cubicBezTo>
                <a:lnTo>
                  <a:pt x="11093063" y="637521"/>
                </a:lnTo>
                <a:cubicBezTo>
                  <a:pt x="11092456" y="630719"/>
                  <a:pt x="11091437" y="623958"/>
                  <a:pt x="11090027" y="617276"/>
                </a:cubicBezTo>
                <a:cubicBezTo>
                  <a:pt x="11083112" y="584284"/>
                  <a:pt x="11060566" y="556724"/>
                  <a:pt x="11029597" y="543409"/>
                </a:cubicBezTo>
                <a:cubicBezTo>
                  <a:pt x="10997795" y="529404"/>
                  <a:pt x="10963885" y="521907"/>
                  <a:pt x="10929795" y="520972"/>
                </a:cubicBezTo>
                <a:close/>
                <a:moveTo>
                  <a:pt x="0" y="0"/>
                </a:moveTo>
                <a:lnTo>
                  <a:pt x="12193196" y="0"/>
                </a:lnTo>
                <a:lnTo>
                  <a:pt x="12193196" y="4738686"/>
                </a:lnTo>
                <a:lnTo>
                  <a:pt x="0" y="4738686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wrap="square" tIns="684000" anchor="ctr">
            <a:noAutofit/>
          </a:bodyPr>
          <a:lstStyle>
            <a:lvl1pPr algn="ctr">
              <a:defRPr sz="1800"/>
            </a:lvl1pPr>
          </a:lstStyle>
          <a:p>
            <a:r>
              <a:rPr lang="en-GB" dirty="0"/>
              <a:t> </a:t>
            </a:r>
          </a:p>
        </p:txBody>
      </p:sp>
      <p:grpSp>
        <p:nvGrpSpPr>
          <p:cNvPr id="16" name="グループ化 39">
            <a:extLst>
              <a:ext uri="{FF2B5EF4-FFF2-40B4-BE49-F238E27FC236}">
                <a16:creationId xmlns:a16="http://schemas.microsoft.com/office/drawing/2014/main" xmlns="" id="{6809A62B-C3B4-4040-AF1D-DC2BF3BDB821}"/>
              </a:ext>
            </a:extLst>
          </p:cNvPr>
          <p:cNvGrpSpPr/>
          <p:nvPr/>
        </p:nvGrpSpPr>
        <p:grpSpPr bwMode="gray">
          <a:xfrm>
            <a:off x="0" y="4739176"/>
            <a:ext cx="12192000" cy="129984"/>
            <a:chOff x="324487" y="2057426"/>
            <a:chExt cx="8495663" cy="97488"/>
          </a:xfrm>
        </p:grpSpPr>
        <p:sp>
          <p:nvSpPr>
            <p:cNvPr id="17" name="正方形/長方形 11">
              <a:extLst>
                <a:ext uri="{FF2B5EF4-FFF2-40B4-BE49-F238E27FC236}">
                  <a16:creationId xmlns:a16="http://schemas.microsoft.com/office/drawing/2014/main" xmlns="" id="{DE7BDB25-5A30-4A34-ABFC-B07249D3BFF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24489" y="2057426"/>
              <a:ext cx="8495661" cy="97488"/>
            </a:xfrm>
            <a:prstGeom prst="rect">
              <a:avLst/>
            </a:prstGeom>
            <a:solidFill>
              <a:srgbClr val="7373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>
                <a:defRPr/>
              </a:pPr>
              <a:endParaRPr lang="en-GB" altLang="ja-JP" sz="4623" dirty="0"/>
            </a:p>
          </p:txBody>
        </p:sp>
        <p:grpSp>
          <p:nvGrpSpPr>
            <p:cNvPr id="18" name="グループ化 16">
              <a:extLst>
                <a:ext uri="{FF2B5EF4-FFF2-40B4-BE49-F238E27FC236}">
                  <a16:creationId xmlns:a16="http://schemas.microsoft.com/office/drawing/2014/main" xmlns="" id="{74096499-38D4-462C-8826-1DB8FC711C1A}"/>
                </a:ext>
              </a:extLst>
            </p:cNvPr>
            <p:cNvGrpSpPr/>
            <p:nvPr/>
          </p:nvGrpSpPr>
          <p:grpSpPr bwMode="gray">
            <a:xfrm>
              <a:off x="324487" y="2057426"/>
              <a:ext cx="1938812" cy="97488"/>
              <a:chOff x="312738" y="2747963"/>
              <a:chExt cx="1970087" cy="109537"/>
            </a:xfrm>
          </p:grpSpPr>
          <p:sp>
            <p:nvSpPr>
              <p:cNvPr id="19" name="正方形/長方形 42">
                <a:extLst>
                  <a:ext uri="{FF2B5EF4-FFF2-40B4-BE49-F238E27FC236}">
                    <a16:creationId xmlns:a16="http://schemas.microsoft.com/office/drawing/2014/main" xmlns="" id="{177D7250-BABC-4571-82D6-043E996D9DB0}"/>
                  </a:ext>
                </a:extLst>
              </p:cNvPr>
              <p:cNvSpPr/>
              <p:nvPr/>
            </p:nvSpPr>
            <p:spPr bwMode="gray">
              <a:xfrm>
                <a:off x="312738" y="2747963"/>
                <a:ext cx="1970087" cy="109537"/>
              </a:xfrm>
              <a:prstGeom prst="rect">
                <a:avLst/>
              </a:prstGeom>
              <a:solidFill>
                <a:srgbClr val="FF0026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en-GB" altLang="ja-JP" sz="2400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20" name="正方形/長方形 43">
                <a:extLst>
                  <a:ext uri="{FF2B5EF4-FFF2-40B4-BE49-F238E27FC236}">
                    <a16:creationId xmlns:a16="http://schemas.microsoft.com/office/drawing/2014/main" xmlns="" id="{BFDA5A74-11DA-4E7F-9508-F12960D3B74E}"/>
                  </a:ext>
                </a:extLst>
              </p:cNvPr>
              <p:cNvSpPr/>
              <p:nvPr/>
            </p:nvSpPr>
            <p:spPr bwMode="gray">
              <a:xfrm>
                <a:off x="312738" y="2747963"/>
                <a:ext cx="985837" cy="109537"/>
              </a:xfrm>
              <a:prstGeom prst="rect">
                <a:avLst/>
              </a:prstGeom>
              <a:solidFill>
                <a:srgbClr val="B3B3B3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en-GB" altLang="ja-JP" sz="2400" kern="0" dirty="0">
                  <a:solidFill>
                    <a:sysClr val="windowText" lastClr="000000"/>
                  </a:solidFill>
                </a:endParaRPr>
              </a:p>
            </p:txBody>
          </p:sp>
        </p:grpSp>
      </p:grpSp>
      <p:pic>
        <p:nvPicPr>
          <p:cNvPr id="23" name="Confidential" hidden="1">
            <a:extLst>
              <a:ext uri="{FF2B5EF4-FFF2-40B4-BE49-F238E27FC236}">
                <a16:creationId xmlns:a16="http://schemas.microsoft.com/office/drawing/2014/main" xmlns="" id="{F228D1DE-D36C-4E9B-BD91-2341FC0B7E0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277200" y="345600"/>
            <a:ext cx="1671890" cy="266400"/>
          </a:xfrm>
          <a:prstGeom prst="rect">
            <a:avLst/>
          </a:prstGeom>
        </p:spPr>
      </p:pic>
      <p:pic>
        <p:nvPicPr>
          <p:cNvPr id="24" name="Public">
            <a:extLst>
              <a:ext uri="{FF2B5EF4-FFF2-40B4-BE49-F238E27FC236}">
                <a16:creationId xmlns:a16="http://schemas.microsoft.com/office/drawing/2014/main" xmlns="" id="{335E045B-8C20-4063-A4AC-CE1126B6A6B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275718" y="345600"/>
            <a:ext cx="1671890" cy="266400"/>
          </a:xfrm>
          <a:prstGeom prst="rect">
            <a:avLst/>
          </a:prstGeom>
        </p:spPr>
      </p:pic>
      <p:pic>
        <p:nvPicPr>
          <p:cNvPr id="25" name="Internal" hidden="1">
            <a:extLst>
              <a:ext uri="{FF2B5EF4-FFF2-40B4-BE49-F238E27FC236}">
                <a16:creationId xmlns:a16="http://schemas.microsoft.com/office/drawing/2014/main" xmlns="" id="{CFAE1106-3574-4FE9-B82F-D12EAEB197C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275718" y="344152"/>
            <a:ext cx="1671890" cy="266400"/>
          </a:xfrm>
          <a:prstGeom prst="rect">
            <a:avLst/>
          </a:prstGeom>
        </p:spPr>
      </p:pic>
      <p:pic>
        <p:nvPicPr>
          <p:cNvPr id="27" name="Strictly" hidden="1">
            <a:extLst>
              <a:ext uri="{FF2B5EF4-FFF2-40B4-BE49-F238E27FC236}">
                <a16:creationId xmlns:a16="http://schemas.microsoft.com/office/drawing/2014/main" xmlns="" id="{C9A12DA8-BB00-43A2-B6FC-35D89D95C927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>
            <a:off x="261960" y="345600"/>
            <a:ext cx="1671890" cy="266400"/>
          </a:xfrm>
          <a:prstGeom prst="rect">
            <a:avLst/>
          </a:prstGeom>
        </p:spPr>
      </p:pic>
      <p:sp>
        <p:nvSpPr>
          <p:cNvPr id="34" name="Footer Placeholder 4">
            <a:extLst>
              <a:ext uri="{FF2B5EF4-FFF2-40B4-BE49-F238E27FC236}">
                <a16:creationId xmlns:a16="http://schemas.microsoft.com/office/drawing/2014/main" xmlns="" id="{0486618B-68FB-45E3-A35A-DDD33A48B6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5" name="Slide Number Placeholder 5">
            <a:extLst>
              <a:ext uri="{FF2B5EF4-FFF2-40B4-BE49-F238E27FC236}">
                <a16:creationId xmlns:a16="http://schemas.microsoft.com/office/drawing/2014/main" xmlns="" id="{DC8ACF76-1594-442B-8415-8F2C0043D3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C24EC536-6FE3-4540-8D85-74C58F0BF69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2" name="Text Placeholder 8">
            <a:extLst>
              <a:ext uri="{FF2B5EF4-FFF2-40B4-BE49-F238E27FC236}">
                <a16:creationId xmlns:a16="http://schemas.microsoft.com/office/drawing/2014/main" xmlns="" id="{36A589DD-7E0A-4E4B-95D5-D702B10B00C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78800" y="6544105"/>
            <a:ext cx="2876400" cy="154800"/>
          </a:xfrm>
        </p:spPr>
        <p:txBody>
          <a:bodyPr tIns="0" anchor="ctr"/>
          <a:lstStyle>
            <a:lvl1pPr>
              <a:defRPr sz="900">
                <a:latin typeface="+mn-lt"/>
                <a:cs typeface="Arial" panose="020B0604020202020204" pitchFamily="34" charset="0"/>
              </a:defRPr>
            </a:lvl1pPr>
            <a:lvl2pPr>
              <a:defRPr sz="930"/>
            </a:lvl2pPr>
            <a:lvl3pPr>
              <a:defRPr sz="930"/>
            </a:lvl3pPr>
            <a:lvl4pPr>
              <a:defRPr sz="930"/>
            </a:lvl4pPr>
            <a:lvl5pPr>
              <a:defRPr sz="930"/>
            </a:lvl5pPr>
          </a:lstStyle>
          <a:p>
            <a:pPr lvl="0"/>
            <a:r>
              <a:rPr lang="en-GB" dirty="0"/>
              <a:t>YYYY-MM-DD</a:t>
            </a:r>
          </a:p>
        </p:txBody>
      </p:sp>
      <p:pic>
        <p:nvPicPr>
          <p:cNvPr id="42" name="Picture 41">
            <a:extLst>
              <a:ext uri="{FF2B5EF4-FFF2-40B4-BE49-F238E27FC236}">
                <a16:creationId xmlns:a16="http://schemas.microsoft.com/office/drawing/2014/main" xmlns="" id="{96F3ED43-7C10-441F-A85E-DD38A4A69668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99330" y="6370483"/>
            <a:ext cx="2663370" cy="363891"/>
          </a:xfrm>
          <a:prstGeom prst="rect">
            <a:avLst/>
          </a:prstGeom>
        </p:spPr>
      </p:pic>
      <p:sp>
        <p:nvSpPr>
          <p:cNvPr id="43" name="text" descr="{&#10; &quot;SkabelonDesign&quot;: {&#10; &quot;textualValue&quot;: &quot;&lt;key1/&gt;&quot;,&#10; &quot;bindingCollection&quot;: {&#10; &quot;key1&quot;: {&quot;SkabelonDesign&quot;:{&quot;type&quot;:&quot;Text&quot;,&quot;binding&quot;:&quot;Copyright&quot;}}&#10; }&#10; }&#10;}">
            <a:extLst>
              <a:ext uri="{FF2B5EF4-FFF2-40B4-BE49-F238E27FC236}">
                <a16:creationId xmlns:a16="http://schemas.microsoft.com/office/drawing/2014/main" xmlns="" id="{A1D0E42A-229D-4B51-85D9-00EA3C02B2A2}"/>
              </a:ext>
            </a:extLst>
          </p:cNvPr>
          <p:cNvSpPr txBox="1"/>
          <p:nvPr userDrawn="1"/>
        </p:nvSpPr>
        <p:spPr bwMode="gray">
          <a:xfrm>
            <a:off x="4856400" y="6540775"/>
            <a:ext cx="2484000" cy="16920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0" i="0" u="none" strike="noStrike" kern="1200" cap="none" spc="-1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© 2023 Hitachi Energy. All rights reserved.</a:t>
            </a:r>
            <a:endParaRPr kumimoji="0" lang="en-GB" sz="900" b="0" i="0" u="none" strike="noStrike" kern="1200" cap="none" spc="-1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4" name="Title 1">
            <a:extLst>
              <a:ext uri="{FF2B5EF4-FFF2-40B4-BE49-F238E27FC236}">
                <a16:creationId xmlns:a16="http://schemas.microsoft.com/office/drawing/2014/main" xmlns="" id="{622B9DBC-F3CB-4876-8A41-37F96EA18BB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368000" y="5090400"/>
            <a:ext cx="10555200" cy="493200"/>
          </a:xfrm>
        </p:spPr>
        <p:txBody>
          <a:bodyPr anchor="t"/>
          <a:lstStyle>
            <a:lvl1pPr algn="l">
              <a:lnSpc>
                <a:spcPct val="100000"/>
              </a:lnSpc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pl-PL" dirty="0" err="1"/>
              <a:t>Click</a:t>
            </a:r>
            <a:r>
              <a:rPr lang="pl-PL" dirty="0"/>
              <a:t> to insert </a:t>
            </a:r>
            <a:r>
              <a:rPr lang="en-GB" dirty="0"/>
              <a:t>Title</a:t>
            </a:r>
          </a:p>
        </p:txBody>
      </p:sp>
      <p:sp>
        <p:nvSpPr>
          <p:cNvPr id="45" name="Subtitle 2">
            <a:extLst>
              <a:ext uri="{FF2B5EF4-FFF2-40B4-BE49-F238E27FC236}">
                <a16:creationId xmlns:a16="http://schemas.microsoft.com/office/drawing/2014/main" xmlns="" id="{2F3D19D8-C5FF-4F6C-8CA3-962131EC982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378800" y="5583600"/>
            <a:ext cx="10555200" cy="327600"/>
          </a:xfrm>
        </p:spPr>
        <p:txBody>
          <a:bodyPr tIns="0"/>
          <a:lstStyle>
            <a:lvl1pPr marL="0" indent="0" algn="l"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l-PL" dirty="0" err="1"/>
              <a:t>Click</a:t>
            </a:r>
            <a:r>
              <a:rPr lang="pl-PL" dirty="0"/>
              <a:t> to insert </a:t>
            </a:r>
            <a:r>
              <a:rPr lang="en-GB" dirty="0"/>
              <a:t>Subtitle</a:t>
            </a:r>
          </a:p>
        </p:txBody>
      </p:sp>
      <p:sp>
        <p:nvSpPr>
          <p:cNvPr id="46" name="Text Placeholder 6">
            <a:extLst>
              <a:ext uri="{FF2B5EF4-FFF2-40B4-BE49-F238E27FC236}">
                <a16:creationId xmlns:a16="http://schemas.microsoft.com/office/drawing/2014/main" xmlns="" id="{15452E9B-8B9B-4AFA-9E46-A271FE2529E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78800" y="5972400"/>
            <a:ext cx="10555200" cy="306000"/>
          </a:xfrm>
        </p:spPr>
        <p:txBody>
          <a:bodyPr tIns="0"/>
          <a:lstStyle>
            <a:lvl1pPr>
              <a:defRPr>
                <a:latin typeface="Arial Nova Light" panose="020B0304020202020204" pitchFamily="34" charset="0"/>
              </a:defRPr>
            </a:lvl1pPr>
          </a:lstStyle>
          <a:p>
            <a:pPr lvl="0"/>
            <a:r>
              <a:rPr lang="pl-PL" dirty="0" err="1"/>
              <a:t>Click</a:t>
            </a:r>
            <a:r>
              <a:rPr lang="pl-PL" dirty="0"/>
              <a:t> to insert </a:t>
            </a:r>
            <a:r>
              <a:rPr lang="en-GB" dirty="0"/>
              <a:t>Additio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3265181682"/>
      </p:ext>
    </p:extLst>
  </p:cSld>
  <p:clrMapOvr>
    <a:masterClrMapping/>
  </p:clrMapOvr>
  <p:hf hd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(3)  Numbers &amp; (3)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xmlns="" id="{AD1B31ED-E7F7-4220-8A41-FD0D2DB422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4" y="187199"/>
            <a:ext cx="8856000" cy="435600"/>
          </a:xfrm>
        </p:spPr>
        <p:txBody>
          <a:bodyPr anchor="ctr">
            <a:noAutofit/>
          </a:bodyPr>
          <a:lstStyle>
            <a:lvl1pPr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xmlns="" id="{8E9939FA-DD63-4218-9D50-656BD6554C2E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>
          <a:xfrm>
            <a:off x="263524" y="3416160"/>
            <a:ext cx="3528219" cy="1449415"/>
          </a:xfrm>
          <a:solidFill>
            <a:schemeClr val="tx2"/>
          </a:solidFill>
        </p:spPr>
        <p:txBody>
          <a:bodyPr lIns="108000" tIns="108000" rIns="108000" bIns="10800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xmlns="" id="{3EF0C493-4E28-4B4C-94D0-38B1AFE873C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>
          <a:xfrm>
            <a:off x="4325749" y="3416160"/>
            <a:ext cx="3528036" cy="1449415"/>
          </a:xfrm>
          <a:solidFill>
            <a:srgbClr val="4D4D4D"/>
          </a:solidFill>
        </p:spPr>
        <p:txBody>
          <a:bodyPr lIns="108000" tIns="108000" rIns="108000" bIns="10800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xmlns="" id="{09D0A801-928A-4A3A-915F-59029C73D8B7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>
          <a:xfrm>
            <a:off x="8381696" y="3416160"/>
            <a:ext cx="3546779" cy="1449415"/>
          </a:xfrm>
          <a:solidFill>
            <a:srgbClr val="B3B3B3"/>
          </a:solidFill>
        </p:spPr>
        <p:txBody>
          <a:bodyPr lIns="108000" tIns="108000" rIns="108000" bIns="10800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Content Placeholder 6">
            <a:extLst>
              <a:ext uri="{FF2B5EF4-FFF2-40B4-BE49-F238E27FC236}">
                <a16:creationId xmlns:a16="http://schemas.microsoft.com/office/drawing/2014/main" xmlns="" id="{EB48B66A-D6B5-4E4F-844E-EF0C26AFB55F}"/>
              </a:ext>
            </a:extLst>
          </p:cNvPr>
          <p:cNvSpPr>
            <a:spLocks noGrp="1"/>
          </p:cNvSpPr>
          <p:nvPr>
            <p:ph sz="quarter" idx="43" hasCustomPrompt="1"/>
          </p:nvPr>
        </p:nvSpPr>
        <p:spPr>
          <a:xfrm>
            <a:off x="263526" y="2341885"/>
            <a:ext cx="1512000" cy="943200"/>
          </a:xfrm>
          <a:prstGeom prst="rect">
            <a:avLst/>
          </a:prstGeom>
          <a:noFill/>
        </p:spPr>
        <p:txBody>
          <a:bodyPr tIns="0" anchor="t" anchorCtr="0"/>
          <a:lstStyle>
            <a:lvl1pPr algn="l">
              <a:spcBef>
                <a:spcPts val="0"/>
              </a:spcBef>
              <a:defRPr sz="6600" b="1">
                <a:solidFill>
                  <a:schemeClr val="tx2"/>
                </a:solidFill>
                <a:latin typeface="+mn-lt"/>
                <a:ea typeface="ABBvoice" panose="020D0603020503020204" pitchFamily="34" charset="0"/>
                <a:cs typeface="ABBvoice" panose="020D0603020503020204" pitchFamily="34" charset="0"/>
              </a:defRPr>
            </a:lvl1pPr>
          </a:lstStyle>
          <a:p>
            <a:pPr lvl="0"/>
            <a:r>
              <a:rPr lang="en-US" dirty="0"/>
              <a:t>0</a:t>
            </a:r>
            <a:r>
              <a:rPr lang="pl-PL" dirty="0"/>
              <a:t>1</a:t>
            </a:r>
            <a:r>
              <a:rPr lang="en-US" dirty="0"/>
              <a:t>.</a:t>
            </a:r>
            <a:endParaRPr lang="en-GB" dirty="0"/>
          </a:p>
        </p:txBody>
      </p:sp>
      <p:sp>
        <p:nvSpPr>
          <p:cNvPr id="22" name="Content Placeholder 6">
            <a:extLst>
              <a:ext uri="{FF2B5EF4-FFF2-40B4-BE49-F238E27FC236}">
                <a16:creationId xmlns:a16="http://schemas.microsoft.com/office/drawing/2014/main" xmlns="" id="{83FD57A8-6479-4985-9F0E-144CBA3F5AFA}"/>
              </a:ext>
            </a:extLst>
          </p:cNvPr>
          <p:cNvSpPr>
            <a:spLocks noGrp="1"/>
          </p:cNvSpPr>
          <p:nvPr>
            <p:ph sz="quarter" idx="44" hasCustomPrompt="1"/>
          </p:nvPr>
        </p:nvSpPr>
        <p:spPr>
          <a:xfrm>
            <a:off x="4325561" y="2341885"/>
            <a:ext cx="1512000" cy="943200"/>
          </a:xfrm>
          <a:prstGeom prst="rect">
            <a:avLst/>
          </a:prstGeom>
          <a:noFill/>
        </p:spPr>
        <p:txBody>
          <a:bodyPr tIns="0" anchor="t" anchorCtr="0"/>
          <a:lstStyle>
            <a:lvl1pPr algn="l">
              <a:spcBef>
                <a:spcPts val="0"/>
              </a:spcBef>
              <a:defRPr sz="6600" b="1">
                <a:solidFill>
                  <a:srgbClr val="4D4D4D"/>
                </a:solidFill>
                <a:latin typeface="+mn-lt"/>
                <a:ea typeface="ABBvoice" panose="020D0603020503020204" pitchFamily="34" charset="0"/>
                <a:cs typeface="ABBvoice" panose="020D0603020503020204" pitchFamily="34" charset="0"/>
              </a:defRPr>
            </a:lvl1pPr>
          </a:lstStyle>
          <a:p>
            <a:pPr lvl="0"/>
            <a:r>
              <a:rPr lang="en-US" dirty="0"/>
              <a:t>0</a:t>
            </a:r>
            <a:r>
              <a:rPr lang="pl-PL" dirty="0"/>
              <a:t>2</a:t>
            </a:r>
            <a:r>
              <a:rPr lang="en-US" dirty="0"/>
              <a:t>.</a:t>
            </a:r>
            <a:endParaRPr lang="en-GB" dirty="0"/>
          </a:p>
        </p:txBody>
      </p:sp>
      <p:sp>
        <p:nvSpPr>
          <p:cNvPr id="23" name="Content Placeholder 6">
            <a:extLst>
              <a:ext uri="{FF2B5EF4-FFF2-40B4-BE49-F238E27FC236}">
                <a16:creationId xmlns:a16="http://schemas.microsoft.com/office/drawing/2014/main" xmlns="" id="{4148E4F7-968B-4124-BA4A-561A36CD2CF6}"/>
              </a:ext>
            </a:extLst>
          </p:cNvPr>
          <p:cNvSpPr>
            <a:spLocks noGrp="1"/>
          </p:cNvSpPr>
          <p:nvPr>
            <p:ph sz="quarter" idx="45" hasCustomPrompt="1"/>
          </p:nvPr>
        </p:nvSpPr>
        <p:spPr>
          <a:xfrm>
            <a:off x="8381692" y="2341885"/>
            <a:ext cx="1512000" cy="943200"/>
          </a:xfrm>
          <a:prstGeom prst="rect">
            <a:avLst/>
          </a:prstGeom>
          <a:noFill/>
        </p:spPr>
        <p:txBody>
          <a:bodyPr tIns="0" anchor="t" anchorCtr="0"/>
          <a:lstStyle>
            <a:lvl1pPr algn="l">
              <a:spcBef>
                <a:spcPts val="0"/>
              </a:spcBef>
              <a:defRPr sz="6600" b="1">
                <a:solidFill>
                  <a:srgbClr val="B3B3B3"/>
                </a:solidFill>
                <a:latin typeface="+mn-lt"/>
                <a:ea typeface="ABBvoice" panose="020D0603020503020204" pitchFamily="34" charset="0"/>
                <a:cs typeface="ABBvoice" panose="020D0603020503020204" pitchFamily="34" charset="0"/>
              </a:defRPr>
            </a:lvl1pPr>
          </a:lstStyle>
          <a:p>
            <a:pPr lvl="0"/>
            <a:r>
              <a:rPr lang="en-US" dirty="0"/>
              <a:t>0</a:t>
            </a:r>
            <a:r>
              <a:rPr lang="pl-PL" dirty="0"/>
              <a:t>3</a:t>
            </a:r>
            <a:r>
              <a:rPr lang="en-US" dirty="0"/>
              <a:t>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7BC73073-C2B0-4F59-B2BD-DE1DD6C5A903}"/>
              </a:ext>
            </a:extLst>
          </p:cNvPr>
          <p:cNvSpPr>
            <a:spLocks noGrp="1"/>
          </p:cNvSpPr>
          <p:nvPr>
            <p:ph type="sldNum" sz="quarter" idx="47"/>
          </p:nvPr>
        </p:nvSpPr>
        <p:spPr/>
        <p:txBody>
          <a:bodyPr/>
          <a:lstStyle/>
          <a:p>
            <a:fld id="{C24EC536-6FE3-4540-8D85-74C58F0BF69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Footer Placeholder 5">
            <a:extLst>
              <a:ext uri="{FF2B5EF4-FFF2-40B4-BE49-F238E27FC236}">
                <a16:creationId xmlns:a16="http://schemas.microsoft.com/office/drawing/2014/main" xmlns="" id="{B426BB0C-F133-4E02-9BCA-328562F649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16400" y="6433200"/>
            <a:ext cx="6123600" cy="255600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900"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7434070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4) &amp; Content (4) &amp; Numbers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 Placeholder 11">
            <a:extLst>
              <a:ext uri="{FF2B5EF4-FFF2-40B4-BE49-F238E27FC236}">
                <a16:creationId xmlns:a16="http://schemas.microsoft.com/office/drawing/2014/main" xmlns="" id="{D1D57BDC-6E92-486A-AE2C-5DDC13E1D23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 bwMode="gray">
          <a:xfrm>
            <a:off x="263525" y="3416161"/>
            <a:ext cx="2700000" cy="252000"/>
          </a:xfrm>
        </p:spPr>
        <p:txBody>
          <a:bodyPr lIns="0" tIns="0" rIns="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Click to edit Master text</a:t>
            </a:r>
          </a:p>
        </p:txBody>
      </p:sp>
      <p:sp>
        <p:nvSpPr>
          <p:cNvPr id="32" name="Content Placeholder 3">
            <a:extLst>
              <a:ext uri="{FF2B5EF4-FFF2-40B4-BE49-F238E27FC236}">
                <a16:creationId xmlns:a16="http://schemas.microsoft.com/office/drawing/2014/main" xmlns="" id="{02392784-44EE-4314-84BD-B868C1661DD3}"/>
              </a:ext>
            </a:extLst>
          </p:cNvPr>
          <p:cNvSpPr>
            <a:spLocks noGrp="1"/>
          </p:cNvSpPr>
          <p:nvPr>
            <p:ph sz="quarter" idx="28"/>
          </p:nvPr>
        </p:nvSpPr>
        <p:spPr bwMode="gray">
          <a:xfrm>
            <a:off x="263525" y="3787380"/>
            <a:ext cx="2700000" cy="965736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3" name="Text Placeholder 11">
            <a:extLst>
              <a:ext uri="{FF2B5EF4-FFF2-40B4-BE49-F238E27FC236}">
                <a16:creationId xmlns:a16="http://schemas.microsoft.com/office/drawing/2014/main" xmlns="" id="{3D96C7B1-1BCB-4F43-BFC8-1399F3D13547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 bwMode="gray">
          <a:xfrm>
            <a:off x="3251841" y="3416161"/>
            <a:ext cx="2700000" cy="252000"/>
          </a:xfrm>
        </p:spPr>
        <p:txBody>
          <a:bodyPr lIns="0" tIns="0" rIns="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Click to edit Master text</a:t>
            </a:r>
          </a:p>
        </p:txBody>
      </p:sp>
      <p:sp>
        <p:nvSpPr>
          <p:cNvPr id="34" name="Content Placeholder 3">
            <a:extLst>
              <a:ext uri="{FF2B5EF4-FFF2-40B4-BE49-F238E27FC236}">
                <a16:creationId xmlns:a16="http://schemas.microsoft.com/office/drawing/2014/main" xmlns="" id="{CDAC2527-DFB4-4638-8DCD-E04B936CE13D}"/>
              </a:ext>
            </a:extLst>
          </p:cNvPr>
          <p:cNvSpPr>
            <a:spLocks noGrp="1"/>
          </p:cNvSpPr>
          <p:nvPr>
            <p:ph sz="quarter" idx="30"/>
          </p:nvPr>
        </p:nvSpPr>
        <p:spPr bwMode="gray">
          <a:xfrm>
            <a:off x="3251841" y="3787380"/>
            <a:ext cx="2700000" cy="965736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5" name="Text Placeholder 11">
            <a:extLst>
              <a:ext uri="{FF2B5EF4-FFF2-40B4-BE49-F238E27FC236}">
                <a16:creationId xmlns:a16="http://schemas.microsoft.com/office/drawing/2014/main" xmlns="" id="{AB5DAA13-2760-45CC-A6EC-7BEB802406FC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 bwMode="gray">
          <a:xfrm>
            <a:off x="6240158" y="3416161"/>
            <a:ext cx="2700000" cy="252000"/>
          </a:xfrm>
        </p:spPr>
        <p:txBody>
          <a:bodyPr lIns="0" tIns="0" rIns="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Click to edit Master text</a:t>
            </a:r>
          </a:p>
        </p:txBody>
      </p:sp>
      <p:sp>
        <p:nvSpPr>
          <p:cNvPr id="36" name="Content Placeholder 3">
            <a:extLst>
              <a:ext uri="{FF2B5EF4-FFF2-40B4-BE49-F238E27FC236}">
                <a16:creationId xmlns:a16="http://schemas.microsoft.com/office/drawing/2014/main" xmlns="" id="{8E59A62E-84C3-48BA-868C-E3454A6916E1}"/>
              </a:ext>
            </a:extLst>
          </p:cNvPr>
          <p:cNvSpPr>
            <a:spLocks noGrp="1"/>
          </p:cNvSpPr>
          <p:nvPr>
            <p:ph sz="quarter" idx="32"/>
          </p:nvPr>
        </p:nvSpPr>
        <p:spPr bwMode="gray">
          <a:xfrm>
            <a:off x="6240158" y="3787380"/>
            <a:ext cx="2700000" cy="965736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7" name="Text Placeholder 11">
            <a:extLst>
              <a:ext uri="{FF2B5EF4-FFF2-40B4-BE49-F238E27FC236}">
                <a16:creationId xmlns:a16="http://schemas.microsoft.com/office/drawing/2014/main" xmlns="" id="{79BBCBA5-D7D9-4D52-8F30-668C4D95A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 bwMode="gray">
          <a:xfrm>
            <a:off x="9228475" y="3416161"/>
            <a:ext cx="2700000" cy="252000"/>
          </a:xfrm>
        </p:spPr>
        <p:txBody>
          <a:bodyPr lIns="0" tIns="0" rIns="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Click to edit Master text</a:t>
            </a:r>
          </a:p>
        </p:txBody>
      </p:sp>
      <p:sp>
        <p:nvSpPr>
          <p:cNvPr id="38" name="Content Placeholder 3">
            <a:extLst>
              <a:ext uri="{FF2B5EF4-FFF2-40B4-BE49-F238E27FC236}">
                <a16:creationId xmlns:a16="http://schemas.microsoft.com/office/drawing/2014/main" xmlns="" id="{F2921E8B-05BF-434D-A65F-66946D72EAE7}"/>
              </a:ext>
            </a:extLst>
          </p:cNvPr>
          <p:cNvSpPr>
            <a:spLocks noGrp="1"/>
          </p:cNvSpPr>
          <p:nvPr>
            <p:ph sz="quarter" idx="34"/>
          </p:nvPr>
        </p:nvSpPr>
        <p:spPr bwMode="gray">
          <a:xfrm>
            <a:off x="9228475" y="3787380"/>
            <a:ext cx="2700000" cy="965736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0" name="Content Placeholder 6">
            <a:extLst>
              <a:ext uri="{FF2B5EF4-FFF2-40B4-BE49-F238E27FC236}">
                <a16:creationId xmlns:a16="http://schemas.microsoft.com/office/drawing/2014/main" xmlns="" id="{D4A65557-9CD2-406D-8B52-6943070AE0AB}"/>
              </a:ext>
            </a:extLst>
          </p:cNvPr>
          <p:cNvSpPr>
            <a:spLocks noGrp="1"/>
          </p:cNvSpPr>
          <p:nvPr>
            <p:ph sz="quarter" idx="44" hasCustomPrompt="1"/>
          </p:nvPr>
        </p:nvSpPr>
        <p:spPr>
          <a:xfrm>
            <a:off x="3251841" y="2341885"/>
            <a:ext cx="1512000" cy="943200"/>
          </a:xfrm>
          <a:prstGeom prst="rect">
            <a:avLst/>
          </a:prstGeom>
          <a:noFill/>
        </p:spPr>
        <p:txBody>
          <a:bodyPr tIns="0" anchor="t" anchorCtr="0"/>
          <a:lstStyle>
            <a:lvl1pPr algn="l">
              <a:spcBef>
                <a:spcPts val="0"/>
              </a:spcBef>
              <a:defRPr sz="6600" b="1">
                <a:solidFill>
                  <a:schemeClr val="tx2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02.</a:t>
            </a:r>
          </a:p>
        </p:txBody>
      </p:sp>
      <p:sp>
        <p:nvSpPr>
          <p:cNvPr id="39" name="Content Placeholder 6">
            <a:extLst>
              <a:ext uri="{FF2B5EF4-FFF2-40B4-BE49-F238E27FC236}">
                <a16:creationId xmlns:a16="http://schemas.microsoft.com/office/drawing/2014/main" xmlns="" id="{018F2D4F-C26A-4C5E-A29A-571528EABD05}"/>
              </a:ext>
            </a:extLst>
          </p:cNvPr>
          <p:cNvSpPr>
            <a:spLocks noGrp="1"/>
          </p:cNvSpPr>
          <p:nvPr>
            <p:ph sz="quarter" idx="45" hasCustomPrompt="1"/>
          </p:nvPr>
        </p:nvSpPr>
        <p:spPr>
          <a:xfrm>
            <a:off x="6240156" y="2341885"/>
            <a:ext cx="1512000" cy="943200"/>
          </a:xfrm>
          <a:prstGeom prst="rect">
            <a:avLst/>
          </a:prstGeom>
          <a:noFill/>
        </p:spPr>
        <p:txBody>
          <a:bodyPr tIns="0" anchor="t" anchorCtr="0"/>
          <a:lstStyle>
            <a:lvl1pPr algn="l">
              <a:spcBef>
                <a:spcPts val="0"/>
              </a:spcBef>
              <a:defRPr sz="6600" b="1">
                <a:solidFill>
                  <a:schemeClr val="tx2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03.</a:t>
            </a:r>
          </a:p>
        </p:txBody>
      </p:sp>
      <p:sp>
        <p:nvSpPr>
          <p:cNvPr id="41" name="Content Placeholder 6">
            <a:extLst>
              <a:ext uri="{FF2B5EF4-FFF2-40B4-BE49-F238E27FC236}">
                <a16:creationId xmlns:a16="http://schemas.microsoft.com/office/drawing/2014/main" xmlns="" id="{6F08678E-73C5-4F03-9E09-85D20BD9B99F}"/>
              </a:ext>
            </a:extLst>
          </p:cNvPr>
          <p:cNvSpPr>
            <a:spLocks noGrp="1"/>
          </p:cNvSpPr>
          <p:nvPr>
            <p:ph sz="quarter" idx="43" hasCustomPrompt="1"/>
          </p:nvPr>
        </p:nvSpPr>
        <p:spPr>
          <a:xfrm>
            <a:off x="263526" y="2341885"/>
            <a:ext cx="1512000" cy="943200"/>
          </a:xfrm>
          <a:prstGeom prst="rect">
            <a:avLst/>
          </a:prstGeom>
          <a:noFill/>
        </p:spPr>
        <p:txBody>
          <a:bodyPr tIns="0" anchor="t" anchorCtr="0"/>
          <a:lstStyle>
            <a:lvl1pPr algn="l">
              <a:spcBef>
                <a:spcPts val="0"/>
              </a:spcBef>
              <a:defRPr sz="6600" b="1">
                <a:solidFill>
                  <a:schemeClr val="tx2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01.</a:t>
            </a:r>
          </a:p>
        </p:txBody>
      </p:sp>
      <p:sp>
        <p:nvSpPr>
          <p:cNvPr id="42" name="Content Placeholder 6">
            <a:extLst>
              <a:ext uri="{FF2B5EF4-FFF2-40B4-BE49-F238E27FC236}">
                <a16:creationId xmlns:a16="http://schemas.microsoft.com/office/drawing/2014/main" xmlns="" id="{38A6D437-EBE7-487A-A3B0-DE8D773F65CB}"/>
              </a:ext>
            </a:extLst>
          </p:cNvPr>
          <p:cNvSpPr>
            <a:spLocks noGrp="1"/>
          </p:cNvSpPr>
          <p:nvPr>
            <p:ph sz="quarter" idx="46" hasCustomPrompt="1"/>
          </p:nvPr>
        </p:nvSpPr>
        <p:spPr>
          <a:xfrm>
            <a:off x="9228471" y="2341885"/>
            <a:ext cx="1512000" cy="943200"/>
          </a:xfrm>
          <a:prstGeom prst="rect">
            <a:avLst/>
          </a:prstGeom>
          <a:noFill/>
        </p:spPr>
        <p:txBody>
          <a:bodyPr tIns="0" anchor="t" anchorCtr="0"/>
          <a:lstStyle>
            <a:lvl1pPr algn="l">
              <a:spcBef>
                <a:spcPts val="0"/>
              </a:spcBef>
              <a:defRPr sz="6600" b="1">
                <a:solidFill>
                  <a:schemeClr val="tx2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04.</a:t>
            </a: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xmlns="" id="{9F5DB350-91E1-4DA9-BF69-38FC41505E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4" y="187199"/>
            <a:ext cx="8856000" cy="435600"/>
          </a:xfrm>
        </p:spPr>
        <p:txBody>
          <a:bodyPr anchor="ctr">
            <a:no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48973EA3-348D-49E5-B5B8-CA8C8916C328}"/>
              </a:ext>
            </a:extLst>
          </p:cNvPr>
          <p:cNvSpPr>
            <a:spLocks noGrp="1"/>
          </p:cNvSpPr>
          <p:nvPr>
            <p:ph type="sldNum" sz="quarter" idx="52"/>
          </p:nvPr>
        </p:nvSpPr>
        <p:spPr/>
        <p:txBody>
          <a:bodyPr/>
          <a:lstStyle/>
          <a:p>
            <a:fld id="{C24EC536-6FE3-4540-8D85-74C58F0BF69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Footer Placeholder 5">
            <a:extLst>
              <a:ext uri="{FF2B5EF4-FFF2-40B4-BE49-F238E27FC236}">
                <a16:creationId xmlns:a16="http://schemas.microsoft.com/office/drawing/2014/main" xmlns="" id="{DAD0F164-0FE9-4627-8AE4-C4EBFB88844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16400" y="6433200"/>
            <a:ext cx="6123600" cy="255600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900"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3788149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4.1) &amp; Content (4.1) &amp; Numbers (4.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11">
            <a:extLst>
              <a:ext uri="{FF2B5EF4-FFF2-40B4-BE49-F238E27FC236}">
                <a16:creationId xmlns:a16="http://schemas.microsoft.com/office/drawing/2014/main" xmlns="" id="{BF68FEBD-BEFC-4726-874B-6289F0616A06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 bwMode="gray">
          <a:xfrm>
            <a:off x="1770501" y="1473599"/>
            <a:ext cx="1878632" cy="252000"/>
          </a:xfrm>
        </p:spPr>
        <p:txBody>
          <a:bodyPr lIns="0" tIns="0" rIns="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Click to edit Master</a:t>
            </a:r>
          </a:p>
        </p:txBody>
      </p:sp>
      <p:sp>
        <p:nvSpPr>
          <p:cNvPr id="32" name="Text Placeholder 11">
            <a:extLst>
              <a:ext uri="{FF2B5EF4-FFF2-40B4-BE49-F238E27FC236}">
                <a16:creationId xmlns:a16="http://schemas.microsoft.com/office/drawing/2014/main" xmlns="" id="{092CBB90-B3D5-45EB-A5C7-4055E1FF503F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 bwMode="gray">
          <a:xfrm>
            <a:off x="1770501" y="2805379"/>
            <a:ext cx="1878632" cy="252000"/>
          </a:xfrm>
        </p:spPr>
        <p:txBody>
          <a:bodyPr lIns="0" tIns="0" rIns="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Click to edit Master</a:t>
            </a:r>
          </a:p>
        </p:txBody>
      </p:sp>
      <p:sp>
        <p:nvSpPr>
          <p:cNvPr id="34" name="Text Placeholder 11">
            <a:extLst>
              <a:ext uri="{FF2B5EF4-FFF2-40B4-BE49-F238E27FC236}">
                <a16:creationId xmlns:a16="http://schemas.microsoft.com/office/drawing/2014/main" xmlns="" id="{728B220A-6603-4016-8181-30353C6AE4C9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 bwMode="gray">
          <a:xfrm>
            <a:off x="1770501" y="4122968"/>
            <a:ext cx="1878632" cy="252000"/>
          </a:xfrm>
        </p:spPr>
        <p:txBody>
          <a:bodyPr lIns="0" tIns="0" rIns="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Click to edit Master</a:t>
            </a:r>
          </a:p>
        </p:txBody>
      </p:sp>
      <p:sp>
        <p:nvSpPr>
          <p:cNvPr id="42" name="Text Placeholder 11">
            <a:extLst>
              <a:ext uri="{FF2B5EF4-FFF2-40B4-BE49-F238E27FC236}">
                <a16:creationId xmlns:a16="http://schemas.microsoft.com/office/drawing/2014/main" xmlns="" id="{E30EC2DD-1F4A-4356-9646-C28E53D7970A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 bwMode="gray">
          <a:xfrm>
            <a:off x="1770501" y="5443614"/>
            <a:ext cx="1878632" cy="252000"/>
          </a:xfrm>
        </p:spPr>
        <p:txBody>
          <a:bodyPr lIns="0" tIns="0" rIns="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Click to edit Master</a:t>
            </a:r>
          </a:p>
        </p:txBody>
      </p:sp>
      <p:sp>
        <p:nvSpPr>
          <p:cNvPr id="49" name="Content Placeholder 3">
            <a:extLst>
              <a:ext uri="{FF2B5EF4-FFF2-40B4-BE49-F238E27FC236}">
                <a16:creationId xmlns:a16="http://schemas.microsoft.com/office/drawing/2014/main" xmlns="" id="{CFBBB2FF-A24B-4F09-BA72-DC718D4331B3}"/>
              </a:ext>
            </a:extLst>
          </p:cNvPr>
          <p:cNvSpPr>
            <a:spLocks noGrp="1"/>
          </p:cNvSpPr>
          <p:nvPr>
            <p:ph sz="quarter" idx="38"/>
          </p:nvPr>
        </p:nvSpPr>
        <p:spPr bwMode="gray">
          <a:xfrm>
            <a:off x="3921690" y="2705088"/>
            <a:ext cx="8006785" cy="1002838"/>
          </a:xfrm>
        </p:spPr>
        <p:txBody>
          <a:bodyPr lIns="0" tIns="108000" rIns="0" bIns="0"/>
          <a:lstStyle>
            <a:lvl1pPr>
              <a:lnSpc>
                <a:spcPct val="100000"/>
              </a:lnSpc>
              <a:spcBef>
                <a:spcPts val="600"/>
              </a:spcBef>
              <a:defRPr sz="1200"/>
            </a:lvl1pPr>
            <a:lvl2pPr>
              <a:lnSpc>
                <a:spcPct val="100000"/>
              </a:lnSpc>
              <a:spcBef>
                <a:spcPts val="600"/>
              </a:spcBef>
              <a:defRPr sz="1200"/>
            </a:lvl2pPr>
            <a:lvl3pPr>
              <a:lnSpc>
                <a:spcPct val="100000"/>
              </a:lnSpc>
              <a:spcBef>
                <a:spcPts val="600"/>
              </a:spcBef>
              <a:defRPr sz="1200"/>
            </a:lvl3pPr>
            <a:lvl4pPr>
              <a:lnSpc>
                <a:spcPct val="100000"/>
              </a:lnSpc>
              <a:spcBef>
                <a:spcPts val="600"/>
              </a:spcBef>
              <a:defRPr sz="1200"/>
            </a:lvl4pPr>
            <a:lvl5pPr>
              <a:lnSpc>
                <a:spcPct val="100000"/>
              </a:lnSpc>
              <a:spcBef>
                <a:spcPts val="600"/>
              </a:spcBef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0" name="Content Placeholder 3">
            <a:extLst>
              <a:ext uri="{FF2B5EF4-FFF2-40B4-BE49-F238E27FC236}">
                <a16:creationId xmlns:a16="http://schemas.microsoft.com/office/drawing/2014/main" xmlns="" id="{CB993417-83D5-41F8-BAF9-2986F007C1C6}"/>
              </a:ext>
            </a:extLst>
          </p:cNvPr>
          <p:cNvSpPr>
            <a:spLocks noGrp="1"/>
          </p:cNvSpPr>
          <p:nvPr>
            <p:ph sz="quarter" idx="45"/>
          </p:nvPr>
        </p:nvSpPr>
        <p:spPr bwMode="gray">
          <a:xfrm>
            <a:off x="3921690" y="1376363"/>
            <a:ext cx="8006785" cy="1002838"/>
          </a:xfrm>
        </p:spPr>
        <p:txBody>
          <a:bodyPr lIns="0" tIns="108000" rIns="0" bIns="0"/>
          <a:lstStyle>
            <a:lvl1pPr>
              <a:lnSpc>
                <a:spcPct val="100000"/>
              </a:lnSpc>
              <a:spcBef>
                <a:spcPts val="600"/>
              </a:spcBef>
              <a:defRPr sz="1200"/>
            </a:lvl1pPr>
            <a:lvl2pPr>
              <a:lnSpc>
                <a:spcPct val="100000"/>
              </a:lnSpc>
              <a:spcBef>
                <a:spcPts val="600"/>
              </a:spcBef>
              <a:defRPr sz="1200"/>
            </a:lvl2pPr>
            <a:lvl3pPr>
              <a:lnSpc>
                <a:spcPct val="100000"/>
              </a:lnSpc>
              <a:spcBef>
                <a:spcPts val="600"/>
              </a:spcBef>
              <a:defRPr sz="1200"/>
            </a:lvl3pPr>
            <a:lvl4pPr>
              <a:lnSpc>
                <a:spcPct val="100000"/>
              </a:lnSpc>
              <a:spcBef>
                <a:spcPts val="600"/>
              </a:spcBef>
              <a:defRPr sz="1200"/>
            </a:lvl4pPr>
            <a:lvl5pPr>
              <a:lnSpc>
                <a:spcPct val="100000"/>
              </a:lnSpc>
              <a:spcBef>
                <a:spcPts val="600"/>
              </a:spcBef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1" name="Content Placeholder 3">
            <a:extLst>
              <a:ext uri="{FF2B5EF4-FFF2-40B4-BE49-F238E27FC236}">
                <a16:creationId xmlns:a16="http://schemas.microsoft.com/office/drawing/2014/main" xmlns="" id="{8152D743-82D2-45BC-9D72-C38ED8D00974}"/>
              </a:ext>
            </a:extLst>
          </p:cNvPr>
          <p:cNvSpPr>
            <a:spLocks noGrp="1"/>
          </p:cNvSpPr>
          <p:nvPr>
            <p:ph sz="quarter" idx="46"/>
          </p:nvPr>
        </p:nvSpPr>
        <p:spPr bwMode="gray">
          <a:xfrm>
            <a:off x="3921690" y="4025732"/>
            <a:ext cx="8006785" cy="1002838"/>
          </a:xfrm>
        </p:spPr>
        <p:txBody>
          <a:bodyPr lIns="0" tIns="108000" rIns="0" bIns="0"/>
          <a:lstStyle>
            <a:lvl1pPr>
              <a:lnSpc>
                <a:spcPct val="100000"/>
              </a:lnSpc>
              <a:spcBef>
                <a:spcPts val="600"/>
              </a:spcBef>
              <a:defRPr sz="1200"/>
            </a:lvl1pPr>
            <a:lvl2pPr>
              <a:lnSpc>
                <a:spcPct val="100000"/>
              </a:lnSpc>
              <a:spcBef>
                <a:spcPts val="600"/>
              </a:spcBef>
              <a:defRPr sz="1200"/>
            </a:lvl2pPr>
            <a:lvl3pPr>
              <a:lnSpc>
                <a:spcPct val="100000"/>
              </a:lnSpc>
              <a:spcBef>
                <a:spcPts val="600"/>
              </a:spcBef>
              <a:defRPr sz="1200"/>
            </a:lvl3pPr>
            <a:lvl4pPr>
              <a:lnSpc>
                <a:spcPct val="100000"/>
              </a:lnSpc>
              <a:spcBef>
                <a:spcPts val="600"/>
              </a:spcBef>
              <a:defRPr sz="1200"/>
            </a:lvl4pPr>
            <a:lvl5pPr>
              <a:lnSpc>
                <a:spcPct val="100000"/>
              </a:lnSpc>
              <a:spcBef>
                <a:spcPts val="600"/>
              </a:spcBef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2" name="Content Placeholder 3">
            <a:extLst>
              <a:ext uri="{FF2B5EF4-FFF2-40B4-BE49-F238E27FC236}">
                <a16:creationId xmlns:a16="http://schemas.microsoft.com/office/drawing/2014/main" xmlns="" id="{9C85D89A-0FCA-434E-8A47-ABFF684F433A}"/>
              </a:ext>
            </a:extLst>
          </p:cNvPr>
          <p:cNvSpPr>
            <a:spLocks noGrp="1"/>
          </p:cNvSpPr>
          <p:nvPr>
            <p:ph sz="quarter" idx="47"/>
          </p:nvPr>
        </p:nvSpPr>
        <p:spPr bwMode="gray">
          <a:xfrm>
            <a:off x="3921690" y="5346378"/>
            <a:ext cx="8006785" cy="1002838"/>
          </a:xfrm>
        </p:spPr>
        <p:txBody>
          <a:bodyPr lIns="0" tIns="108000" rIns="0" bIns="0"/>
          <a:lstStyle>
            <a:lvl1pPr>
              <a:lnSpc>
                <a:spcPct val="100000"/>
              </a:lnSpc>
              <a:spcBef>
                <a:spcPts val="600"/>
              </a:spcBef>
              <a:defRPr sz="1200"/>
            </a:lvl1pPr>
            <a:lvl2pPr>
              <a:lnSpc>
                <a:spcPct val="100000"/>
              </a:lnSpc>
              <a:spcBef>
                <a:spcPts val="600"/>
              </a:spcBef>
              <a:defRPr sz="1200"/>
            </a:lvl2pPr>
            <a:lvl3pPr>
              <a:lnSpc>
                <a:spcPct val="100000"/>
              </a:lnSpc>
              <a:spcBef>
                <a:spcPts val="600"/>
              </a:spcBef>
              <a:defRPr sz="1200"/>
            </a:lvl3pPr>
            <a:lvl4pPr>
              <a:lnSpc>
                <a:spcPct val="100000"/>
              </a:lnSpc>
              <a:spcBef>
                <a:spcPts val="600"/>
              </a:spcBef>
              <a:defRPr sz="1200"/>
            </a:lvl4pPr>
            <a:lvl5pPr>
              <a:lnSpc>
                <a:spcPct val="100000"/>
              </a:lnSpc>
              <a:spcBef>
                <a:spcPts val="600"/>
              </a:spcBef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8" name="Content Placeholder 6">
            <a:extLst>
              <a:ext uri="{FF2B5EF4-FFF2-40B4-BE49-F238E27FC236}">
                <a16:creationId xmlns:a16="http://schemas.microsoft.com/office/drawing/2014/main" xmlns="" id="{287FBD57-6702-4F91-B717-C913C186C628}"/>
              </a:ext>
            </a:extLst>
          </p:cNvPr>
          <p:cNvSpPr>
            <a:spLocks noGrp="1"/>
          </p:cNvSpPr>
          <p:nvPr>
            <p:ph sz="quarter" idx="44" hasCustomPrompt="1"/>
          </p:nvPr>
        </p:nvSpPr>
        <p:spPr>
          <a:xfrm>
            <a:off x="263526" y="2699701"/>
            <a:ext cx="1512000" cy="943200"/>
          </a:xfrm>
          <a:prstGeom prst="rect">
            <a:avLst/>
          </a:prstGeom>
          <a:noFill/>
        </p:spPr>
        <p:txBody>
          <a:bodyPr tIns="0" anchor="t" anchorCtr="0"/>
          <a:lstStyle>
            <a:lvl1pPr algn="l">
              <a:spcBef>
                <a:spcPts val="0"/>
              </a:spcBef>
              <a:defRPr sz="6600" b="1">
                <a:solidFill>
                  <a:schemeClr val="tx2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02.</a:t>
            </a:r>
          </a:p>
        </p:txBody>
      </p:sp>
      <p:sp>
        <p:nvSpPr>
          <p:cNvPr id="39" name="Content Placeholder 6">
            <a:extLst>
              <a:ext uri="{FF2B5EF4-FFF2-40B4-BE49-F238E27FC236}">
                <a16:creationId xmlns:a16="http://schemas.microsoft.com/office/drawing/2014/main" xmlns="" id="{D3A403B4-1233-48D9-939E-539F1DEE6C17}"/>
              </a:ext>
            </a:extLst>
          </p:cNvPr>
          <p:cNvSpPr>
            <a:spLocks noGrp="1"/>
          </p:cNvSpPr>
          <p:nvPr>
            <p:ph sz="quarter" idx="50" hasCustomPrompt="1"/>
          </p:nvPr>
        </p:nvSpPr>
        <p:spPr>
          <a:xfrm>
            <a:off x="263526" y="4022931"/>
            <a:ext cx="1512000" cy="943200"/>
          </a:xfrm>
          <a:prstGeom prst="rect">
            <a:avLst/>
          </a:prstGeom>
          <a:noFill/>
        </p:spPr>
        <p:txBody>
          <a:bodyPr tIns="0" anchor="t" anchorCtr="0"/>
          <a:lstStyle>
            <a:lvl1pPr algn="l">
              <a:spcBef>
                <a:spcPts val="0"/>
              </a:spcBef>
              <a:defRPr sz="6600" b="1">
                <a:solidFill>
                  <a:schemeClr val="tx2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03.</a:t>
            </a:r>
          </a:p>
        </p:txBody>
      </p:sp>
      <p:sp>
        <p:nvSpPr>
          <p:cNvPr id="40" name="Content Placeholder 6">
            <a:extLst>
              <a:ext uri="{FF2B5EF4-FFF2-40B4-BE49-F238E27FC236}">
                <a16:creationId xmlns:a16="http://schemas.microsoft.com/office/drawing/2014/main" xmlns="" id="{2D403FEE-1DE0-489E-93AD-696B7F46C4DA}"/>
              </a:ext>
            </a:extLst>
          </p:cNvPr>
          <p:cNvSpPr>
            <a:spLocks noGrp="1"/>
          </p:cNvSpPr>
          <p:nvPr>
            <p:ph sz="quarter" idx="43" hasCustomPrompt="1"/>
          </p:nvPr>
        </p:nvSpPr>
        <p:spPr>
          <a:xfrm>
            <a:off x="263526" y="1376363"/>
            <a:ext cx="1512000" cy="943200"/>
          </a:xfrm>
          <a:prstGeom prst="rect">
            <a:avLst/>
          </a:prstGeom>
          <a:noFill/>
        </p:spPr>
        <p:txBody>
          <a:bodyPr tIns="0" anchor="t" anchorCtr="0"/>
          <a:lstStyle>
            <a:lvl1pPr algn="l">
              <a:spcBef>
                <a:spcPts val="0"/>
              </a:spcBef>
              <a:defRPr sz="6600" b="1">
                <a:solidFill>
                  <a:schemeClr val="tx2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01.</a:t>
            </a:r>
          </a:p>
        </p:txBody>
      </p:sp>
      <p:sp>
        <p:nvSpPr>
          <p:cNvPr id="41" name="Content Placeholder 6">
            <a:extLst>
              <a:ext uri="{FF2B5EF4-FFF2-40B4-BE49-F238E27FC236}">
                <a16:creationId xmlns:a16="http://schemas.microsoft.com/office/drawing/2014/main" xmlns="" id="{DA07BDAE-41C2-4483-8E4F-05FBB75EBBCB}"/>
              </a:ext>
            </a:extLst>
          </p:cNvPr>
          <p:cNvSpPr>
            <a:spLocks noGrp="1"/>
          </p:cNvSpPr>
          <p:nvPr>
            <p:ph sz="quarter" idx="51" hasCustomPrompt="1"/>
          </p:nvPr>
        </p:nvSpPr>
        <p:spPr>
          <a:xfrm>
            <a:off x="263526" y="5346378"/>
            <a:ext cx="1512000" cy="943200"/>
          </a:xfrm>
          <a:prstGeom prst="rect">
            <a:avLst/>
          </a:prstGeom>
          <a:noFill/>
        </p:spPr>
        <p:txBody>
          <a:bodyPr tIns="0" anchor="t" anchorCtr="0"/>
          <a:lstStyle>
            <a:lvl1pPr algn="l">
              <a:spcBef>
                <a:spcPts val="0"/>
              </a:spcBef>
              <a:defRPr sz="6600" b="1">
                <a:solidFill>
                  <a:schemeClr val="tx2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04.</a:t>
            </a: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xmlns="" id="{964E16CA-A3E9-4322-B9BE-4FF2A7C5CA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4" y="187199"/>
            <a:ext cx="8856000" cy="435600"/>
          </a:xfrm>
        </p:spPr>
        <p:txBody>
          <a:bodyPr anchor="ctr">
            <a:no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Content Placeholder 3">
            <a:extLst>
              <a:ext uri="{FF2B5EF4-FFF2-40B4-BE49-F238E27FC236}">
                <a16:creationId xmlns:a16="http://schemas.microsoft.com/office/drawing/2014/main" xmlns="" id="{D8823674-FBB1-4551-AC02-90DB5D85F417}"/>
              </a:ext>
            </a:extLst>
          </p:cNvPr>
          <p:cNvSpPr>
            <a:spLocks noGrp="1"/>
          </p:cNvSpPr>
          <p:nvPr>
            <p:ph sz="quarter" idx="53"/>
          </p:nvPr>
        </p:nvSpPr>
        <p:spPr bwMode="gray">
          <a:xfrm>
            <a:off x="1770502" y="1844826"/>
            <a:ext cx="1878630" cy="534375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 dirty="0"/>
              <a:t>Click to edit Master text</a:t>
            </a:r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xmlns="" id="{022D9BBD-A252-4309-A295-ED6177147C22}"/>
              </a:ext>
            </a:extLst>
          </p:cNvPr>
          <p:cNvSpPr>
            <a:spLocks noGrp="1"/>
          </p:cNvSpPr>
          <p:nvPr>
            <p:ph sz="quarter" idx="54"/>
          </p:nvPr>
        </p:nvSpPr>
        <p:spPr bwMode="gray">
          <a:xfrm>
            <a:off x="1770502" y="3178604"/>
            <a:ext cx="1878630" cy="534375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 dirty="0"/>
              <a:t>Click to edit Master text</a:t>
            </a:r>
          </a:p>
        </p:txBody>
      </p:sp>
      <p:sp>
        <p:nvSpPr>
          <p:cNvPr id="31" name="Content Placeholder 3">
            <a:extLst>
              <a:ext uri="{FF2B5EF4-FFF2-40B4-BE49-F238E27FC236}">
                <a16:creationId xmlns:a16="http://schemas.microsoft.com/office/drawing/2014/main" xmlns="" id="{94C57C6C-1977-455A-A9A5-50449BAFD477}"/>
              </a:ext>
            </a:extLst>
          </p:cNvPr>
          <p:cNvSpPr>
            <a:spLocks noGrp="1"/>
          </p:cNvSpPr>
          <p:nvPr>
            <p:ph sz="quarter" idx="55"/>
          </p:nvPr>
        </p:nvSpPr>
        <p:spPr bwMode="gray">
          <a:xfrm>
            <a:off x="1770502" y="4494195"/>
            <a:ext cx="1878630" cy="534375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 dirty="0"/>
              <a:t>Click to edit Master text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xmlns="" id="{1CC08C47-21F2-4262-A804-D297AEF30EEC}"/>
              </a:ext>
            </a:extLst>
          </p:cNvPr>
          <p:cNvSpPr>
            <a:spLocks noGrp="1"/>
          </p:cNvSpPr>
          <p:nvPr>
            <p:ph sz="quarter" idx="56"/>
          </p:nvPr>
        </p:nvSpPr>
        <p:spPr bwMode="gray">
          <a:xfrm>
            <a:off x="1770502" y="5814841"/>
            <a:ext cx="1878630" cy="534375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 dirty="0"/>
              <a:t>Click to edit Master tex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B782CADA-9D05-4BC9-9B22-DBA7C65BDEA5}"/>
              </a:ext>
            </a:extLst>
          </p:cNvPr>
          <p:cNvSpPr>
            <a:spLocks noGrp="1"/>
          </p:cNvSpPr>
          <p:nvPr>
            <p:ph type="sldNum" sz="quarter" idx="58"/>
          </p:nvPr>
        </p:nvSpPr>
        <p:spPr/>
        <p:txBody>
          <a:bodyPr/>
          <a:lstStyle/>
          <a:p>
            <a:fld id="{C24EC536-6FE3-4540-8D85-74C58F0BF69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4" name="Footer Placeholder 5">
            <a:extLst>
              <a:ext uri="{FF2B5EF4-FFF2-40B4-BE49-F238E27FC236}">
                <a16:creationId xmlns:a16="http://schemas.microsoft.com/office/drawing/2014/main" xmlns="" id="{292C7BF6-221B-4AEA-95B3-C1AA8E5D9EC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16400" y="6433200"/>
            <a:ext cx="6123600" cy="255600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900"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4291181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3) &amp; Content (3) &amp; Numbers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Text Placeholder 11">
            <a:extLst>
              <a:ext uri="{FF2B5EF4-FFF2-40B4-BE49-F238E27FC236}">
                <a16:creationId xmlns:a16="http://schemas.microsoft.com/office/drawing/2014/main" xmlns="" id="{334276D4-69E8-479D-9F34-5E846D41D7C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>
          <a:xfrm>
            <a:off x="263524" y="3416161"/>
            <a:ext cx="3528219" cy="252000"/>
          </a:xfrm>
        </p:spPr>
        <p:txBody>
          <a:bodyPr lIns="0" tIns="0" rIns="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9" name="Text Placeholder 11">
            <a:extLst>
              <a:ext uri="{FF2B5EF4-FFF2-40B4-BE49-F238E27FC236}">
                <a16:creationId xmlns:a16="http://schemas.microsoft.com/office/drawing/2014/main" xmlns="" id="{D78A5E39-BD74-4E47-BCC6-1789A4ECF3F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>
          <a:xfrm>
            <a:off x="4325749" y="3416161"/>
            <a:ext cx="3528036" cy="252000"/>
          </a:xfrm>
        </p:spPr>
        <p:txBody>
          <a:bodyPr lIns="0" tIns="0" rIns="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Text Placeholder 11">
            <a:extLst>
              <a:ext uri="{FF2B5EF4-FFF2-40B4-BE49-F238E27FC236}">
                <a16:creationId xmlns:a16="http://schemas.microsoft.com/office/drawing/2014/main" xmlns="" id="{25E45DFB-3F74-413C-840C-C77358A01D7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>
          <a:xfrm>
            <a:off x="8381696" y="3416161"/>
            <a:ext cx="3546779" cy="252000"/>
          </a:xfrm>
        </p:spPr>
        <p:txBody>
          <a:bodyPr lIns="0" tIns="0" rIns="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1" name="Content Placeholder 3">
            <a:extLst>
              <a:ext uri="{FF2B5EF4-FFF2-40B4-BE49-F238E27FC236}">
                <a16:creationId xmlns:a16="http://schemas.microsoft.com/office/drawing/2014/main" xmlns="" id="{12C3E05B-F4DE-48A5-96D0-3C4010D5B8F8}"/>
              </a:ext>
            </a:extLst>
          </p:cNvPr>
          <p:cNvSpPr>
            <a:spLocks noGrp="1"/>
          </p:cNvSpPr>
          <p:nvPr>
            <p:ph sz="quarter" idx="26"/>
          </p:nvPr>
        </p:nvSpPr>
        <p:spPr bwMode="gray">
          <a:xfrm>
            <a:off x="4325750" y="3787380"/>
            <a:ext cx="3528034" cy="965736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2" name="Content Placeholder 3">
            <a:extLst>
              <a:ext uri="{FF2B5EF4-FFF2-40B4-BE49-F238E27FC236}">
                <a16:creationId xmlns:a16="http://schemas.microsoft.com/office/drawing/2014/main" xmlns="" id="{732C4B7D-BBBD-47FD-B2B2-17406547E1D4}"/>
              </a:ext>
            </a:extLst>
          </p:cNvPr>
          <p:cNvSpPr>
            <a:spLocks noGrp="1"/>
          </p:cNvSpPr>
          <p:nvPr>
            <p:ph sz="quarter" idx="27"/>
          </p:nvPr>
        </p:nvSpPr>
        <p:spPr bwMode="gray">
          <a:xfrm>
            <a:off x="8381697" y="3787380"/>
            <a:ext cx="3546779" cy="965736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3" name="Content Placeholder 3">
            <a:extLst>
              <a:ext uri="{FF2B5EF4-FFF2-40B4-BE49-F238E27FC236}">
                <a16:creationId xmlns:a16="http://schemas.microsoft.com/office/drawing/2014/main" xmlns="" id="{991CCDC2-331B-485D-A908-198D803BF9B8}"/>
              </a:ext>
            </a:extLst>
          </p:cNvPr>
          <p:cNvSpPr>
            <a:spLocks noGrp="1"/>
          </p:cNvSpPr>
          <p:nvPr>
            <p:ph sz="quarter" idx="28"/>
          </p:nvPr>
        </p:nvSpPr>
        <p:spPr bwMode="gray">
          <a:xfrm>
            <a:off x="263524" y="3787380"/>
            <a:ext cx="3528219" cy="965736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Content Placeholder 6">
            <a:extLst>
              <a:ext uri="{FF2B5EF4-FFF2-40B4-BE49-F238E27FC236}">
                <a16:creationId xmlns:a16="http://schemas.microsoft.com/office/drawing/2014/main" xmlns="" id="{FF461397-9E3E-4AF0-993E-CDCD014A8749}"/>
              </a:ext>
            </a:extLst>
          </p:cNvPr>
          <p:cNvSpPr>
            <a:spLocks noGrp="1"/>
          </p:cNvSpPr>
          <p:nvPr>
            <p:ph sz="quarter" idx="43" hasCustomPrompt="1"/>
          </p:nvPr>
        </p:nvSpPr>
        <p:spPr>
          <a:xfrm>
            <a:off x="263526" y="2341885"/>
            <a:ext cx="1512000" cy="943200"/>
          </a:xfrm>
          <a:prstGeom prst="rect">
            <a:avLst/>
          </a:prstGeom>
          <a:noFill/>
        </p:spPr>
        <p:txBody>
          <a:bodyPr tIns="0" anchor="t" anchorCtr="0"/>
          <a:lstStyle>
            <a:lvl1pPr algn="l">
              <a:spcBef>
                <a:spcPts val="0"/>
              </a:spcBef>
              <a:defRPr sz="6600" b="1">
                <a:solidFill>
                  <a:schemeClr val="tx2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01.</a:t>
            </a:r>
          </a:p>
        </p:txBody>
      </p:sp>
      <p:sp>
        <p:nvSpPr>
          <p:cNvPr id="28" name="Content Placeholder 6">
            <a:extLst>
              <a:ext uri="{FF2B5EF4-FFF2-40B4-BE49-F238E27FC236}">
                <a16:creationId xmlns:a16="http://schemas.microsoft.com/office/drawing/2014/main" xmlns="" id="{A6A7DFB3-349A-4DAD-B217-CF4EC389CA56}"/>
              </a:ext>
            </a:extLst>
          </p:cNvPr>
          <p:cNvSpPr>
            <a:spLocks noGrp="1"/>
          </p:cNvSpPr>
          <p:nvPr>
            <p:ph sz="quarter" idx="44" hasCustomPrompt="1"/>
          </p:nvPr>
        </p:nvSpPr>
        <p:spPr>
          <a:xfrm>
            <a:off x="4325561" y="2341885"/>
            <a:ext cx="1512000" cy="943200"/>
          </a:xfrm>
          <a:prstGeom prst="rect">
            <a:avLst/>
          </a:prstGeom>
          <a:noFill/>
        </p:spPr>
        <p:txBody>
          <a:bodyPr tIns="0" anchor="t" anchorCtr="0"/>
          <a:lstStyle>
            <a:lvl1pPr algn="l">
              <a:spcBef>
                <a:spcPts val="0"/>
              </a:spcBef>
              <a:defRPr sz="6600" b="1">
                <a:solidFill>
                  <a:schemeClr val="tx2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02.</a:t>
            </a:r>
          </a:p>
        </p:txBody>
      </p:sp>
      <p:sp>
        <p:nvSpPr>
          <p:cNvPr id="29" name="Content Placeholder 6">
            <a:extLst>
              <a:ext uri="{FF2B5EF4-FFF2-40B4-BE49-F238E27FC236}">
                <a16:creationId xmlns:a16="http://schemas.microsoft.com/office/drawing/2014/main" xmlns="" id="{8F31884C-A4A7-4688-ACCF-FD03ED05AA24}"/>
              </a:ext>
            </a:extLst>
          </p:cNvPr>
          <p:cNvSpPr>
            <a:spLocks noGrp="1"/>
          </p:cNvSpPr>
          <p:nvPr>
            <p:ph sz="quarter" idx="45" hasCustomPrompt="1"/>
          </p:nvPr>
        </p:nvSpPr>
        <p:spPr>
          <a:xfrm>
            <a:off x="8381692" y="2341885"/>
            <a:ext cx="1512000" cy="943200"/>
          </a:xfrm>
          <a:prstGeom prst="rect">
            <a:avLst/>
          </a:prstGeom>
          <a:noFill/>
        </p:spPr>
        <p:txBody>
          <a:bodyPr tIns="0" anchor="t" anchorCtr="0"/>
          <a:lstStyle>
            <a:lvl1pPr algn="l">
              <a:spcBef>
                <a:spcPts val="0"/>
              </a:spcBef>
              <a:defRPr sz="6600" b="1">
                <a:solidFill>
                  <a:schemeClr val="tx2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03.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xmlns="" id="{5A74342C-ADC8-4817-82CE-5162113198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4" y="187199"/>
            <a:ext cx="8856000" cy="435600"/>
          </a:xfrm>
        </p:spPr>
        <p:txBody>
          <a:bodyPr anchor="ctr">
            <a:no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C88E4E73-ADEC-442F-A098-73C03F88ADA3}"/>
              </a:ext>
            </a:extLst>
          </p:cNvPr>
          <p:cNvSpPr>
            <a:spLocks noGrp="1"/>
          </p:cNvSpPr>
          <p:nvPr>
            <p:ph type="sldNum" sz="quarter" idx="48"/>
          </p:nvPr>
        </p:nvSpPr>
        <p:spPr/>
        <p:txBody>
          <a:bodyPr/>
          <a:lstStyle/>
          <a:p>
            <a:fld id="{C24EC536-6FE3-4540-8D85-74C58F0BF69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Footer Placeholder 5">
            <a:extLst>
              <a:ext uri="{FF2B5EF4-FFF2-40B4-BE49-F238E27FC236}">
                <a16:creationId xmlns:a16="http://schemas.microsoft.com/office/drawing/2014/main" xmlns="" id="{64B80D57-30E3-4F80-83B9-AA30A5759E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16400" y="6433200"/>
            <a:ext cx="6123600" cy="255600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900"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8323526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3) &amp; Content (6) &amp; Numbers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 Placeholder 11">
            <a:extLst>
              <a:ext uri="{FF2B5EF4-FFF2-40B4-BE49-F238E27FC236}">
                <a16:creationId xmlns:a16="http://schemas.microsoft.com/office/drawing/2014/main" xmlns="" id="{EBB36A58-C548-4E9E-85C3-DEB5102C513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>
          <a:xfrm>
            <a:off x="1787157" y="4985012"/>
            <a:ext cx="1868031" cy="252000"/>
          </a:xfrm>
        </p:spPr>
        <p:txBody>
          <a:bodyPr lIns="0" tIns="0" rIns="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Click to edit Master</a:t>
            </a:r>
          </a:p>
        </p:txBody>
      </p:sp>
      <p:sp>
        <p:nvSpPr>
          <p:cNvPr id="28" name="Text Placeholder 11">
            <a:extLst>
              <a:ext uri="{FF2B5EF4-FFF2-40B4-BE49-F238E27FC236}">
                <a16:creationId xmlns:a16="http://schemas.microsoft.com/office/drawing/2014/main" xmlns="" id="{A8E13FBB-E82B-48DF-885F-E6FC647B2E9F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>
          <a:xfrm>
            <a:off x="1770501" y="1473599"/>
            <a:ext cx="1878632" cy="252000"/>
          </a:xfrm>
        </p:spPr>
        <p:txBody>
          <a:bodyPr lIns="0" tIns="0" rIns="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Click to edit Master</a:t>
            </a:r>
          </a:p>
        </p:txBody>
      </p:sp>
      <p:sp>
        <p:nvSpPr>
          <p:cNvPr id="29" name="Text Placeholder 11">
            <a:extLst>
              <a:ext uri="{FF2B5EF4-FFF2-40B4-BE49-F238E27FC236}">
                <a16:creationId xmlns:a16="http://schemas.microsoft.com/office/drawing/2014/main" xmlns="" id="{BEE4DB48-EE10-4614-9031-A00AE1B5E19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>
          <a:xfrm>
            <a:off x="1770499" y="3240301"/>
            <a:ext cx="1878631" cy="252000"/>
          </a:xfrm>
        </p:spPr>
        <p:txBody>
          <a:bodyPr lIns="0" tIns="0" rIns="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Click to edit Master</a:t>
            </a:r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xmlns="" id="{65119589-6F57-4A69-9736-D33271CF00E2}"/>
              </a:ext>
            </a:extLst>
          </p:cNvPr>
          <p:cNvSpPr>
            <a:spLocks noGrp="1"/>
          </p:cNvSpPr>
          <p:nvPr>
            <p:ph sz="quarter" idx="26"/>
          </p:nvPr>
        </p:nvSpPr>
        <p:spPr bwMode="gray">
          <a:xfrm>
            <a:off x="1770502" y="1844826"/>
            <a:ext cx="1878630" cy="1008108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 dirty="0"/>
              <a:t>Click to edit Master text</a:t>
            </a:r>
          </a:p>
        </p:txBody>
      </p:sp>
      <p:sp>
        <p:nvSpPr>
          <p:cNvPr id="31" name="Content Placeholder 3">
            <a:extLst>
              <a:ext uri="{FF2B5EF4-FFF2-40B4-BE49-F238E27FC236}">
                <a16:creationId xmlns:a16="http://schemas.microsoft.com/office/drawing/2014/main" xmlns="" id="{628A1FB3-6503-43D5-9169-34BFEED09C8F}"/>
              </a:ext>
            </a:extLst>
          </p:cNvPr>
          <p:cNvSpPr>
            <a:spLocks noGrp="1"/>
          </p:cNvSpPr>
          <p:nvPr>
            <p:ph sz="quarter" idx="27"/>
          </p:nvPr>
        </p:nvSpPr>
        <p:spPr bwMode="gray">
          <a:xfrm>
            <a:off x="1770502" y="3600531"/>
            <a:ext cx="1878630" cy="982330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 dirty="0"/>
              <a:t>Click to edit Master text</a:t>
            </a:r>
          </a:p>
        </p:txBody>
      </p:sp>
      <p:sp>
        <p:nvSpPr>
          <p:cNvPr id="32" name="Content Placeholder 3">
            <a:extLst>
              <a:ext uri="{FF2B5EF4-FFF2-40B4-BE49-F238E27FC236}">
                <a16:creationId xmlns:a16="http://schemas.microsoft.com/office/drawing/2014/main" xmlns="" id="{1C5AA962-6BDD-4F47-9221-9D1520C30F36}"/>
              </a:ext>
            </a:extLst>
          </p:cNvPr>
          <p:cNvSpPr>
            <a:spLocks noGrp="1"/>
          </p:cNvSpPr>
          <p:nvPr>
            <p:ph sz="quarter" idx="28"/>
          </p:nvPr>
        </p:nvSpPr>
        <p:spPr bwMode="gray">
          <a:xfrm>
            <a:off x="1770502" y="5362908"/>
            <a:ext cx="1878630" cy="982330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 marL="0" indent="0">
              <a:lnSpc>
                <a:spcPct val="100000"/>
              </a:lnSpc>
              <a:spcBef>
                <a:spcPts val="600"/>
              </a:spcBef>
              <a:buNone/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 dirty="0"/>
              <a:t>Click to edit Master text</a:t>
            </a:r>
          </a:p>
        </p:txBody>
      </p:sp>
      <p:sp>
        <p:nvSpPr>
          <p:cNvPr id="48" name="Content Placeholder 3">
            <a:extLst>
              <a:ext uri="{FF2B5EF4-FFF2-40B4-BE49-F238E27FC236}">
                <a16:creationId xmlns:a16="http://schemas.microsoft.com/office/drawing/2014/main" xmlns="" id="{2F992E05-4AC2-4005-9AA5-948676B96ADD}"/>
              </a:ext>
            </a:extLst>
          </p:cNvPr>
          <p:cNvSpPr>
            <a:spLocks noGrp="1"/>
          </p:cNvSpPr>
          <p:nvPr>
            <p:ph sz="quarter" idx="29"/>
          </p:nvPr>
        </p:nvSpPr>
        <p:spPr bwMode="gray">
          <a:xfrm>
            <a:off x="3921690" y="1376172"/>
            <a:ext cx="8006785" cy="1476762"/>
          </a:xfrm>
        </p:spPr>
        <p:txBody>
          <a:bodyPr lIns="0" tIns="108000" rIns="0" bIns="0"/>
          <a:lstStyle>
            <a:lvl1pPr>
              <a:lnSpc>
                <a:spcPct val="100000"/>
              </a:lnSpc>
              <a:spcBef>
                <a:spcPts val="600"/>
              </a:spcBef>
              <a:defRPr sz="1200"/>
            </a:lvl1pPr>
            <a:lvl2pPr>
              <a:lnSpc>
                <a:spcPct val="100000"/>
              </a:lnSpc>
              <a:spcBef>
                <a:spcPts val="600"/>
              </a:spcBef>
              <a:defRPr sz="1200"/>
            </a:lvl2pPr>
            <a:lvl3pPr>
              <a:lnSpc>
                <a:spcPct val="100000"/>
              </a:lnSpc>
              <a:spcBef>
                <a:spcPts val="600"/>
              </a:spcBef>
              <a:defRPr sz="1200"/>
            </a:lvl3pPr>
            <a:lvl4pPr>
              <a:lnSpc>
                <a:spcPct val="100000"/>
              </a:lnSpc>
              <a:spcBef>
                <a:spcPts val="600"/>
              </a:spcBef>
              <a:defRPr sz="1200"/>
            </a:lvl4pPr>
            <a:lvl5pPr>
              <a:lnSpc>
                <a:spcPct val="100000"/>
              </a:lnSpc>
              <a:spcBef>
                <a:spcPts val="600"/>
              </a:spcBef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9" name="Content Placeholder 3">
            <a:extLst>
              <a:ext uri="{FF2B5EF4-FFF2-40B4-BE49-F238E27FC236}">
                <a16:creationId xmlns:a16="http://schemas.microsoft.com/office/drawing/2014/main" xmlns="" id="{C7D8B73D-DFFB-4564-9913-1F4A91652E6B}"/>
              </a:ext>
            </a:extLst>
          </p:cNvPr>
          <p:cNvSpPr>
            <a:spLocks noGrp="1"/>
          </p:cNvSpPr>
          <p:nvPr>
            <p:ph sz="quarter" idx="30"/>
          </p:nvPr>
        </p:nvSpPr>
        <p:spPr bwMode="gray">
          <a:xfrm>
            <a:off x="3921690" y="3125397"/>
            <a:ext cx="8006785" cy="1457464"/>
          </a:xfrm>
        </p:spPr>
        <p:txBody>
          <a:bodyPr lIns="0" tIns="108000" rIns="0" bIns="0"/>
          <a:lstStyle>
            <a:lvl1pPr>
              <a:lnSpc>
                <a:spcPct val="100000"/>
              </a:lnSpc>
              <a:spcBef>
                <a:spcPts val="600"/>
              </a:spcBef>
              <a:defRPr sz="1200"/>
            </a:lvl1pPr>
            <a:lvl2pPr>
              <a:lnSpc>
                <a:spcPct val="100000"/>
              </a:lnSpc>
              <a:spcBef>
                <a:spcPts val="600"/>
              </a:spcBef>
              <a:defRPr sz="1200"/>
            </a:lvl2pPr>
            <a:lvl3pPr>
              <a:lnSpc>
                <a:spcPct val="100000"/>
              </a:lnSpc>
              <a:spcBef>
                <a:spcPts val="600"/>
              </a:spcBef>
              <a:defRPr sz="1200"/>
            </a:lvl3pPr>
            <a:lvl4pPr>
              <a:lnSpc>
                <a:spcPct val="100000"/>
              </a:lnSpc>
              <a:spcBef>
                <a:spcPts val="600"/>
              </a:spcBef>
              <a:defRPr sz="1200"/>
            </a:lvl4pPr>
            <a:lvl5pPr>
              <a:lnSpc>
                <a:spcPct val="100000"/>
              </a:lnSpc>
              <a:spcBef>
                <a:spcPts val="600"/>
              </a:spcBef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0" name="Content Placeholder 3">
            <a:extLst>
              <a:ext uri="{FF2B5EF4-FFF2-40B4-BE49-F238E27FC236}">
                <a16:creationId xmlns:a16="http://schemas.microsoft.com/office/drawing/2014/main" xmlns="" id="{26FC5483-9CF4-4306-8EF5-D9A805A0E36F}"/>
              </a:ext>
            </a:extLst>
          </p:cNvPr>
          <p:cNvSpPr>
            <a:spLocks noGrp="1"/>
          </p:cNvSpPr>
          <p:nvPr>
            <p:ph sz="quarter" idx="31"/>
          </p:nvPr>
        </p:nvSpPr>
        <p:spPr bwMode="gray">
          <a:xfrm>
            <a:off x="3921690" y="4887774"/>
            <a:ext cx="8006785" cy="1457464"/>
          </a:xfrm>
        </p:spPr>
        <p:txBody>
          <a:bodyPr lIns="0" tIns="108000" rIns="0" bIns="0"/>
          <a:lstStyle>
            <a:lvl1pPr>
              <a:lnSpc>
                <a:spcPct val="100000"/>
              </a:lnSpc>
              <a:spcBef>
                <a:spcPts val="600"/>
              </a:spcBef>
              <a:defRPr sz="1200"/>
            </a:lvl1pPr>
            <a:lvl2pPr>
              <a:lnSpc>
                <a:spcPct val="100000"/>
              </a:lnSpc>
              <a:spcBef>
                <a:spcPts val="600"/>
              </a:spcBef>
              <a:defRPr sz="1200"/>
            </a:lvl2pPr>
            <a:lvl3pPr>
              <a:lnSpc>
                <a:spcPct val="100000"/>
              </a:lnSpc>
              <a:spcBef>
                <a:spcPts val="600"/>
              </a:spcBef>
              <a:defRPr sz="1200"/>
            </a:lvl3pPr>
            <a:lvl4pPr>
              <a:lnSpc>
                <a:spcPct val="100000"/>
              </a:lnSpc>
              <a:spcBef>
                <a:spcPts val="600"/>
              </a:spcBef>
              <a:defRPr sz="1200"/>
            </a:lvl4pPr>
            <a:lvl5pPr>
              <a:lnSpc>
                <a:spcPct val="100000"/>
              </a:lnSpc>
              <a:spcBef>
                <a:spcPts val="600"/>
              </a:spcBef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8" name="Content Placeholder 6">
            <a:extLst>
              <a:ext uri="{FF2B5EF4-FFF2-40B4-BE49-F238E27FC236}">
                <a16:creationId xmlns:a16="http://schemas.microsoft.com/office/drawing/2014/main" xmlns="" id="{DCC4896F-69DF-4D11-A491-DA33D9164972}"/>
              </a:ext>
            </a:extLst>
          </p:cNvPr>
          <p:cNvSpPr>
            <a:spLocks noGrp="1"/>
          </p:cNvSpPr>
          <p:nvPr>
            <p:ph sz="quarter" idx="43" hasCustomPrompt="1"/>
          </p:nvPr>
        </p:nvSpPr>
        <p:spPr>
          <a:xfrm>
            <a:off x="263526" y="1376363"/>
            <a:ext cx="1512000" cy="943200"/>
          </a:xfrm>
          <a:prstGeom prst="rect">
            <a:avLst/>
          </a:prstGeom>
          <a:noFill/>
        </p:spPr>
        <p:txBody>
          <a:bodyPr tIns="0" anchor="t" anchorCtr="0"/>
          <a:lstStyle>
            <a:lvl1pPr algn="l">
              <a:spcBef>
                <a:spcPts val="0"/>
              </a:spcBef>
              <a:defRPr sz="6600" b="1">
                <a:solidFill>
                  <a:schemeClr val="tx2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01.</a:t>
            </a:r>
          </a:p>
        </p:txBody>
      </p:sp>
      <p:sp>
        <p:nvSpPr>
          <p:cNvPr id="40" name="Content Placeholder 6">
            <a:extLst>
              <a:ext uri="{FF2B5EF4-FFF2-40B4-BE49-F238E27FC236}">
                <a16:creationId xmlns:a16="http://schemas.microsoft.com/office/drawing/2014/main" xmlns="" id="{5A29EB00-5838-45B7-BA3A-198B03500529}"/>
              </a:ext>
            </a:extLst>
          </p:cNvPr>
          <p:cNvSpPr>
            <a:spLocks noGrp="1"/>
          </p:cNvSpPr>
          <p:nvPr>
            <p:ph sz="quarter" idx="44" hasCustomPrompt="1"/>
          </p:nvPr>
        </p:nvSpPr>
        <p:spPr>
          <a:xfrm>
            <a:off x="276908" y="3132069"/>
            <a:ext cx="1512000" cy="943200"/>
          </a:xfrm>
          <a:prstGeom prst="rect">
            <a:avLst/>
          </a:prstGeom>
          <a:noFill/>
        </p:spPr>
        <p:txBody>
          <a:bodyPr tIns="0" anchor="t" anchorCtr="0"/>
          <a:lstStyle>
            <a:lvl1pPr algn="l">
              <a:spcBef>
                <a:spcPts val="0"/>
              </a:spcBef>
              <a:defRPr sz="6600" b="1">
                <a:solidFill>
                  <a:schemeClr val="tx2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02.</a:t>
            </a:r>
          </a:p>
        </p:txBody>
      </p:sp>
      <p:sp>
        <p:nvSpPr>
          <p:cNvPr id="41" name="Content Placeholder 6">
            <a:extLst>
              <a:ext uri="{FF2B5EF4-FFF2-40B4-BE49-F238E27FC236}">
                <a16:creationId xmlns:a16="http://schemas.microsoft.com/office/drawing/2014/main" xmlns="" id="{FC50032A-194E-4086-A0FB-0D581FA9C5E7}"/>
              </a:ext>
            </a:extLst>
          </p:cNvPr>
          <p:cNvSpPr>
            <a:spLocks noGrp="1"/>
          </p:cNvSpPr>
          <p:nvPr>
            <p:ph sz="quarter" idx="45" hasCustomPrompt="1"/>
          </p:nvPr>
        </p:nvSpPr>
        <p:spPr>
          <a:xfrm>
            <a:off x="276908" y="4887774"/>
            <a:ext cx="1512000" cy="943200"/>
          </a:xfrm>
          <a:prstGeom prst="rect">
            <a:avLst/>
          </a:prstGeom>
          <a:noFill/>
        </p:spPr>
        <p:txBody>
          <a:bodyPr tIns="0" anchor="t" anchorCtr="0"/>
          <a:lstStyle>
            <a:lvl1pPr algn="l">
              <a:spcBef>
                <a:spcPts val="0"/>
              </a:spcBef>
              <a:defRPr sz="6600" b="1">
                <a:solidFill>
                  <a:schemeClr val="tx2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03.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xmlns="" id="{69A314F6-1FEB-4F11-806C-E3D4AD539C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4" y="187199"/>
            <a:ext cx="8856000" cy="435600"/>
          </a:xfrm>
        </p:spPr>
        <p:txBody>
          <a:bodyPr anchor="ctr">
            <a:no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CDD01C81-AE32-45FA-9F8D-CDB078C53866}"/>
              </a:ext>
            </a:extLst>
          </p:cNvPr>
          <p:cNvSpPr>
            <a:spLocks noGrp="1"/>
          </p:cNvSpPr>
          <p:nvPr>
            <p:ph type="sldNum" sz="quarter" idx="47"/>
          </p:nvPr>
        </p:nvSpPr>
        <p:spPr/>
        <p:txBody>
          <a:bodyPr/>
          <a:lstStyle/>
          <a:p>
            <a:fld id="{C24EC536-6FE3-4540-8D85-74C58F0BF69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Footer Placeholder 5">
            <a:extLst>
              <a:ext uri="{FF2B5EF4-FFF2-40B4-BE49-F238E27FC236}">
                <a16:creationId xmlns:a16="http://schemas.microsoft.com/office/drawing/2014/main" xmlns="" id="{08C0EE21-95E5-4DA2-9376-52CC55C518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16400" y="6433200"/>
            <a:ext cx="6123600" cy="255600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900"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0307552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3) &amp; Content (3) &amp; Numbers (3) &amp;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Text Placeholder 11">
            <a:extLst>
              <a:ext uri="{FF2B5EF4-FFF2-40B4-BE49-F238E27FC236}">
                <a16:creationId xmlns:a16="http://schemas.microsoft.com/office/drawing/2014/main" xmlns="" id="{3A565005-F6E5-4BD3-9F5B-6AF58E8DE81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>
          <a:xfrm>
            <a:off x="1770501" y="1473599"/>
            <a:ext cx="1878632" cy="252000"/>
          </a:xfrm>
        </p:spPr>
        <p:txBody>
          <a:bodyPr lIns="0" tIns="0" rIns="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Click to edit Master</a:t>
            </a:r>
          </a:p>
        </p:txBody>
      </p:sp>
      <p:sp>
        <p:nvSpPr>
          <p:cNvPr id="111" name="Text Placeholder 11">
            <a:extLst>
              <a:ext uri="{FF2B5EF4-FFF2-40B4-BE49-F238E27FC236}">
                <a16:creationId xmlns:a16="http://schemas.microsoft.com/office/drawing/2014/main" xmlns="" id="{E6444A91-ACC7-4CF8-9946-617E2C1A7C3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>
          <a:xfrm>
            <a:off x="1777130" y="2972161"/>
            <a:ext cx="1872000" cy="252000"/>
          </a:xfrm>
        </p:spPr>
        <p:txBody>
          <a:bodyPr lIns="0" tIns="0" rIns="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Click to edit Master</a:t>
            </a:r>
          </a:p>
        </p:txBody>
      </p:sp>
      <p:sp>
        <p:nvSpPr>
          <p:cNvPr id="114" name="Text Placeholder 11">
            <a:extLst>
              <a:ext uri="{FF2B5EF4-FFF2-40B4-BE49-F238E27FC236}">
                <a16:creationId xmlns:a16="http://schemas.microsoft.com/office/drawing/2014/main" xmlns="" id="{F9466146-4718-4169-BEFC-27BB664EE8E7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>
          <a:xfrm>
            <a:off x="1775520" y="4400322"/>
            <a:ext cx="1872000" cy="252000"/>
          </a:xfrm>
        </p:spPr>
        <p:txBody>
          <a:bodyPr lIns="0" tIns="0" rIns="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Click to edit Master</a:t>
            </a:r>
          </a:p>
        </p:txBody>
      </p:sp>
      <p:sp>
        <p:nvSpPr>
          <p:cNvPr id="117" name="Content Placeholder 3">
            <a:extLst>
              <a:ext uri="{FF2B5EF4-FFF2-40B4-BE49-F238E27FC236}">
                <a16:creationId xmlns:a16="http://schemas.microsoft.com/office/drawing/2014/main" xmlns="" id="{D0BB9BD1-AFA8-4777-BD7E-03C05346F0B8}"/>
              </a:ext>
            </a:extLst>
          </p:cNvPr>
          <p:cNvSpPr>
            <a:spLocks noGrp="1"/>
          </p:cNvSpPr>
          <p:nvPr>
            <p:ph sz="quarter" idx="38"/>
          </p:nvPr>
        </p:nvSpPr>
        <p:spPr bwMode="gray">
          <a:xfrm>
            <a:off x="3921690" y="1376363"/>
            <a:ext cx="8006785" cy="1294301"/>
          </a:xfrm>
        </p:spPr>
        <p:txBody>
          <a:bodyPr lIns="0" tIns="108000" rIns="0" bIns="0"/>
          <a:lstStyle>
            <a:lvl1pPr>
              <a:lnSpc>
                <a:spcPct val="100000"/>
              </a:lnSpc>
              <a:spcBef>
                <a:spcPts val="600"/>
              </a:spcBef>
              <a:defRPr sz="1200"/>
            </a:lvl1pPr>
            <a:lvl2pPr>
              <a:lnSpc>
                <a:spcPct val="100000"/>
              </a:lnSpc>
              <a:spcBef>
                <a:spcPts val="600"/>
              </a:spcBef>
              <a:defRPr sz="1200"/>
            </a:lvl2pPr>
            <a:lvl3pPr>
              <a:lnSpc>
                <a:spcPct val="100000"/>
              </a:lnSpc>
              <a:spcBef>
                <a:spcPts val="600"/>
              </a:spcBef>
              <a:defRPr sz="1200"/>
            </a:lvl3pPr>
            <a:lvl4pPr>
              <a:lnSpc>
                <a:spcPct val="100000"/>
              </a:lnSpc>
              <a:spcBef>
                <a:spcPts val="600"/>
              </a:spcBef>
              <a:defRPr sz="1200"/>
            </a:lvl4pPr>
            <a:lvl5pPr>
              <a:lnSpc>
                <a:spcPct val="100000"/>
              </a:lnSpc>
              <a:spcBef>
                <a:spcPts val="600"/>
              </a:spcBef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8" name="Content Placeholder 3">
            <a:extLst>
              <a:ext uri="{FF2B5EF4-FFF2-40B4-BE49-F238E27FC236}">
                <a16:creationId xmlns:a16="http://schemas.microsoft.com/office/drawing/2014/main" xmlns="" id="{2F46FA40-89ED-483D-B576-C0B7126B3D16}"/>
              </a:ext>
            </a:extLst>
          </p:cNvPr>
          <p:cNvSpPr>
            <a:spLocks noGrp="1"/>
          </p:cNvSpPr>
          <p:nvPr>
            <p:ph sz="quarter" idx="39"/>
          </p:nvPr>
        </p:nvSpPr>
        <p:spPr bwMode="gray">
          <a:xfrm>
            <a:off x="3921690" y="2863928"/>
            <a:ext cx="8006785" cy="1294301"/>
          </a:xfrm>
        </p:spPr>
        <p:txBody>
          <a:bodyPr lIns="0" tIns="108000" rIns="0" bIns="0"/>
          <a:lstStyle>
            <a:lvl1pPr>
              <a:lnSpc>
                <a:spcPct val="100000"/>
              </a:lnSpc>
              <a:spcBef>
                <a:spcPts val="600"/>
              </a:spcBef>
              <a:defRPr sz="1200"/>
            </a:lvl1pPr>
            <a:lvl2pPr>
              <a:lnSpc>
                <a:spcPct val="100000"/>
              </a:lnSpc>
              <a:spcBef>
                <a:spcPts val="600"/>
              </a:spcBef>
              <a:defRPr sz="1200"/>
            </a:lvl2pPr>
            <a:lvl3pPr>
              <a:lnSpc>
                <a:spcPct val="100000"/>
              </a:lnSpc>
              <a:spcBef>
                <a:spcPts val="600"/>
              </a:spcBef>
              <a:defRPr sz="1200"/>
            </a:lvl3pPr>
            <a:lvl4pPr>
              <a:lnSpc>
                <a:spcPct val="100000"/>
              </a:lnSpc>
              <a:spcBef>
                <a:spcPts val="600"/>
              </a:spcBef>
              <a:defRPr sz="1200"/>
            </a:lvl4pPr>
            <a:lvl5pPr>
              <a:lnSpc>
                <a:spcPct val="100000"/>
              </a:lnSpc>
              <a:spcBef>
                <a:spcPts val="600"/>
              </a:spcBef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9" name="Content Placeholder 3">
            <a:extLst>
              <a:ext uri="{FF2B5EF4-FFF2-40B4-BE49-F238E27FC236}">
                <a16:creationId xmlns:a16="http://schemas.microsoft.com/office/drawing/2014/main" xmlns="" id="{D940D62B-2E1F-4339-B9F3-000831E52417}"/>
              </a:ext>
            </a:extLst>
          </p:cNvPr>
          <p:cNvSpPr>
            <a:spLocks noGrp="1"/>
          </p:cNvSpPr>
          <p:nvPr>
            <p:ph sz="quarter" idx="40"/>
          </p:nvPr>
        </p:nvSpPr>
        <p:spPr bwMode="gray">
          <a:xfrm>
            <a:off x="3921690" y="4303084"/>
            <a:ext cx="8006785" cy="1294301"/>
          </a:xfrm>
        </p:spPr>
        <p:txBody>
          <a:bodyPr lIns="0" tIns="108000" rIns="0" bIns="0"/>
          <a:lstStyle>
            <a:lvl1pPr>
              <a:lnSpc>
                <a:spcPct val="100000"/>
              </a:lnSpc>
              <a:spcBef>
                <a:spcPts val="600"/>
              </a:spcBef>
              <a:defRPr sz="1200"/>
            </a:lvl1pPr>
            <a:lvl2pPr>
              <a:lnSpc>
                <a:spcPct val="100000"/>
              </a:lnSpc>
              <a:spcBef>
                <a:spcPts val="600"/>
              </a:spcBef>
              <a:defRPr sz="1200"/>
            </a:lvl2pPr>
            <a:lvl3pPr>
              <a:lnSpc>
                <a:spcPct val="100000"/>
              </a:lnSpc>
              <a:spcBef>
                <a:spcPts val="600"/>
              </a:spcBef>
              <a:defRPr sz="1200"/>
            </a:lvl3pPr>
            <a:lvl4pPr>
              <a:lnSpc>
                <a:spcPct val="100000"/>
              </a:lnSpc>
              <a:spcBef>
                <a:spcPts val="600"/>
              </a:spcBef>
              <a:defRPr sz="1200"/>
            </a:lvl4pPr>
            <a:lvl5pPr>
              <a:lnSpc>
                <a:spcPct val="100000"/>
              </a:lnSpc>
              <a:spcBef>
                <a:spcPts val="600"/>
              </a:spcBef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Content Placeholder 6">
            <a:extLst>
              <a:ext uri="{FF2B5EF4-FFF2-40B4-BE49-F238E27FC236}">
                <a16:creationId xmlns:a16="http://schemas.microsoft.com/office/drawing/2014/main" xmlns="" id="{00B1F805-6796-4988-BDAC-995B3E05D34F}"/>
              </a:ext>
            </a:extLst>
          </p:cNvPr>
          <p:cNvSpPr>
            <a:spLocks noGrp="1"/>
          </p:cNvSpPr>
          <p:nvPr>
            <p:ph sz="quarter" idx="43" hasCustomPrompt="1"/>
          </p:nvPr>
        </p:nvSpPr>
        <p:spPr>
          <a:xfrm>
            <a:off x="263526" y="1376363"/>
            <a:ext cx="1512000" cy="943200"/>
          </a:xfrm>
          <a:prstGeom prst="rect">
            <a:avLst/>
          </a:prstGeom>
          <a:noFill/>
        </p:spPr>
        <p:txBody>
          <a:bodyPr tIns="0" anchor="t" anchorCtr="0"/>
          <a:lstStyle>
            <a:lvl1pPr algn="l">
              <a:spcBef>
                <a:spcPts val="0"/>
              </a:spcBef>
              <a:defRPr sz="6600" b="1">
                <a:solidFill>
                  <a:schemeClr val="tx2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01.</a:t>
            </a:r>
          </a:p>
        </p:txBody>
      </p:sp>
      <p:sp>
        <p:nvSpPr>
          <p:cNvPr id="24" name="Content Placeholder 6">
            <a:extLst>
              <a:ext uri="{FF2B5EF4-FFF2-40B4-BE49-F238E27FC236}">
                <a16:creationId xmlns:a16="http://schemas.microsoft.com/office/drawing/2014/main" xmlns="" id="{8D88CFA7-09AB-4767-BF53-0124083462AB}"/>
              </a:ext>
            </a:extLst>
          </p:cNvPr>
          <p:cNvSpPr>
            <a:spLocks noGrp="1"/>
          </p:cNvSpPr>
          <p:nvPr>
            <p:ph sz="quarter" idx="44" hasCustomPrompt="1"/>
          </p:nvPr>
        </p:nvSpPr>
        <p:spPr>
          <a:xfrm>
            <a:off x="276908" y="2863928"/>
            <a:ext cx="1512000" cy="943200"/>
          </a:xfrm>
          <a:prstGeom prst="rect">
            <a:avLst/>
          </a:prstGeom>
          <a:noFill/>
        </p:spPr>
        <p:txBody>
          <a:bodyPr tIns="0" anchor="t" anchorCtr="0"/>
          <a:lstStyle>
            <a:lvl1pPr algn="l">
              <a:spcBef>
                <a:spcPts val="0"/>
              </a:spcBef>
              <a:defRPr sz="6600" b="1">
                <a:solidFill>
                  <a:schemeClr val="tx2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02.</a:t>
            </a:r>
          </a:p>
        </p:txBody>
      </p:sp>
      <p:sp>
        <p:nvSpPr>
          <p:cNvPr id="25" name="Content Placeholder 6">
            <a:extLst>
              <a:ext uri="{FF2B5EF4-FFF2-40B4-BE49-F238E27FC236}">
                <a16:creationId xmlns:a16="http://schemas.microsoft.com/office/drawing/2014/main" xmlns="" id="{019348E2-113B-47F8-A86B-A5A55F501F79}"/>
              </a:ext>
            </a:extLst>
          </p:cNvPr>
          <p:cNvSpPr>
            <a:spLocks noGrp="1"/>
          </p:cNvSpPr>
          <p:nvPr>
            <p:ph sz="quarter" idx="45" hasCustomPrompt="1"/>
          </p:nvPr>
        </p:nvSpPr>
        <p:spPr>
          <a:xfrm>
            <a:off x="276908" y="4303084"/>
            <a:ext cx="1512000" cy="943200"/>
          </a:xfrm>
          <a:prstGeom prst="rect">
            <a:avLst/>
          </a:prstGeom>
          <a:noFill/>
        </p:spPr>
        <p:txBody>
          <a:bodyPr tIns="0" anchor="t" anchorCtr="0"/>
          <a:lstStyle>
            <a:lvl1pPr algn="l">
              <a:spcBef>
                <a:spcPts val="0"/>
              </a:spcBef>
              <a:defRPr sz="6600" b="1">
                <a:solidFill>
                  <a:schemeClr val="tx2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03.</a:t>
            </a:r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xmlns="" id="{DD44EDD3-36EC-41BB-85BC-E402BF438967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 bwMode="gray">
          <a:xfrm>
            <a:off x="0" y="5805264"/>
            <a:ext cx="12192000" cy="539974"/>
          </a:xfrm>
          <a:solidFill>
            <a:srgbClr val="D9D9D9"/>
          </a:solidFill>
        </p:spPr>
        <p:txBody>
          <a:bodyPr lIns="252000" tIns="0" rIns="25200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xmlns="" id="{FBC9DADF-2DD6-49C8-B226-2EAE5C8E7E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4" y="187199"/>
            <a:ext cx="8856000" cy="435600"/>
          </a:xfrm>
        </p:spPr>
        <p:txBody>
          <a:bodyPr anchor="ctr">
            <a:no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xmlns="" id="{77463CE8-CEC7-491B-AEE7-C626E86D052E}"/>
              </a:ext>
            </a:extLst>
          </p:cNvPr>
          <p:cNvSpPr>
            <a:spLocks noGrp="1"/>
          </p:cNvSpPr>
          <p:nvPr>
            <p:ph sz="quarter" idx="26"/>
          </p:nvPr>
        </p:nvSpPr>
        <p:spPr bwMode="gray">
          <a:xfrm>
            <a:off x="1770502" y="1844826"/>
            <a:ext cx="1878630" cy="825838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 dirty="0"/>
              <a:t>Click to edit Master text</a:t>
            </a: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xmlns="" id="{5E70668A-DC62-457E-BA02-26C28D66D891}"/>
              </a:ext>
            </a:extLst>
          </p:cNvPr>
          <p:cNvSpPr>
            <a:spLocks noGrp="1"/>
          </p:cNvSpPr>
          <p:nvPr>
            <p:ph sz="quarter" idx="27"/>
          </p:nvPr>
        </p:nvSpPr>
        <p:spPr bwMode="gray">
          <a:xfrm>
            <a:off x="1770502" y="3341643"/>
            <a:ext cx="1878630" cy="814843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 dirty="0"/>
              <a:t>Click to edit Master text</a:t>
            </a:r>
          </a:p>
        </p:txBody>
      </p:sp>
      <p:sp>
        <p:nvSpPr>
          <p:cNvPr id="21" name="Content Placeholder 3">
            <a:extLst>
              <a:ext uri="{FF2B5EF4-FFF2-40B4-BE49-F238E27FC236}">
                <a16:creationId xmlns:a16="http://schemas.microsoft.com/office/drawing/2014/main" xmlns="" id="{203BC8E2-0A65-4017-BFCD-76D59EB45FE8}"/>
              </a:ext>
            </a:extLst>
          </p:cNvPr>
          <p:cNvSpPr>
            <a:spLocks noGrp="1"/>
          </p:cNvSpPr>
          <p:nvPr>
            <p:ph sz="quarter" idx="28"/>
          </p:nvPr>
        </p:nvSpPr>
        <p:spPr bwMode="gray">
          <a:xfrm>
            <a:off x="1770502" y="4767561"/>
            <a:ext cx="1878630" cy="827341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 marL="0" indent="0">
              <a:lnSpc>
                <a:spcPct val="100000"/>
              </a:lnSpc>
              <a:spcBef>
                <a:spcPts val="600"/>
              </a:spcBef>
              <a:buNone/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 dirty="0"/>
              <a:t>Click to edit Master tex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E9247B1C-3F50-4842-AD5D-BE65E80CE057}"/>
              </a:ext>
            </a:extLst>
          </p:cNvPr>
          <p:cNvSpPr>
            <a:spLocks noGrp="1"/>
          </p:cNvSpPr>
          <p:nvPr>
            <p:ph type="sldNum" sz="quarter" idx="47"/>
          </p:nvPr>
        </p:nvSpPr>
        <p:spPr/>
        <p:txBody>
          <a:bodyPr/>
          <a:lstStyle/>
          <a:p>
            <a:fld id="{C24EC536-6FE3-4540-8D85-74C58F0BF69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8" name="Footer Placeholder 5">
            <a:extLst>
              <a:ext uri="{FF2B5EF4-FFF2-40B4-BE49-F238E27FC236}">
                <a16:creationId xmlns:a16="http://schemas.microsoft.com/office/drawing/2014/main" xmlns="" id="{40FB3AED-BDA7-4E93-8A93-6EEE073DCC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16400" y="6433200"/>
            <a:ext cx="6123600" cy="255600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900"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3358187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3">
            <a:extLst>
              <a:ext uri="{FF2B5EF4-FFF2-40B4-BE49-F238E27FC236}">
                <a16:creationId xmlns:a16="http://schemas.microsoft.com/office/drawing/2014/main" xmlns="" id="{33F13BF9-1311-4811-A51C-9FFEF446C94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310313" y="1473607"/>
            <a:ext cx="5616575" cy="4871631"/>
          </a:xfrm>
          <a:noFill/>
        </p:spPr>
        <p:txBody>
          <a:bodyPr tIns="756000" anchor="ctr"/>
          <a:lstStyle>
            <a:lvl1pPr algn="ctr">
              <a:defRPr>
                <a:solidFill>
                  <a:srgbClr val="737373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xmlns="" id="{D81C83C8-EE7C-474B-8A4C-FA0B57CF463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>
          <a:xfrm>
            <a:off x="263524" y="1473607"/>
            <a:ext cx="5615516" cy="252000"/>
          </a:xfrm>
        </p:spPr>
        <p:txBody>
          <a:bodyPr lIns="0" tIns="0" rIns="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xmlns="" id="{90F2AEDF-5408-4280-B382-645AF1003C84}"/>
              </a:ext>
            </a:extLst>
          </p:cNvPr>
          <p:cNvSpPr>
            <a:spLocks noGrp="1"/>
          </p:cNvSpPr>
          <p:nvPr>
            <p:ph sz="quarter" idx="19"/>
          </p:nvPr>
        </p:nvSpPr>
        <p:spPr bwMode="gray">
          <a:xfrm>
            <a:off x="263524" y="1844826"/>
            <a:ext cx="5615515" cy="4500412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xmlns="" id="{AD1B31ED-E7F7-4220-8A41-FD0D2DB422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4" y="187199"/>
            <a:ext cx="8856000" cy="435600"/>
          </a:xfrm>
        </p:spPr>
        <p:txBody>
          <a:bodyPr anchor="ctr">
            <a:no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9A6786BF-4824-46D8-9C74-2D683B3E95D5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C24EC536-6FE3-4540-8D85-74C58F0BF69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Footer Placeholder 5">
            <a:extLst>
              <a:ext uri="{FF2B5EF4-FFF2-40B4-BE49-F238E27FC236}">
                <a16:creationId xmlns:a16="http://schemas.microsoft.com/office/drawing/2014/main" xmlns="" id="{F3E48152-933D-4A00-A1DF-6A7A641AFAF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16400" y="6433200"/>
            <a:ext cx="6123600" cy="255600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900"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0933298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(2) &amp; Box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>
            <a:extLst>
              <a:ext uri="{FF2B5EF4-FFF2-40B4-BE49-F238E27FC236}">
                <a16:creationId xmlns:a16="http://schemas.microsoft.com/office/drawing/2014/main" xmlns="" id="{545FE617-D52B-476E-948B-310DEA38FD3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310313" y="1473607"/>
            <a:ext cx="5616575" cy="4187622"/>
          </a:xfrm>
          <a:noFill/>
        </p:spPr>
        <p:txBody>
          <a:bodyPr tIns="756000" anchor="ctr"/>
          <a:lstStyle>
            <a:lvl1pPr algn="ctr">
              <a:defRPr>
                <a:solidFill>
                  <a:srgbClr val="737373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xmlns="" id="{08FD9A92-F0CB-4C7E-924C-849F9F88C97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>
          <a:xfrm>
            <a:off x="263524" y="1473607"/>
            <a:ext cx="5615516" cy="252000"/>
          </a:xfrm>
        </p:spPr>
        <p:txBody>
          <a:bodyPr lIns="0" tIns="0" rIns="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xmlns="" id="{18FC10F9-7B1A-4EE2-839B-96181B8B1B71}"/>
              </a:ext>
            </a:extLst>
          </p:cNvPr>
          <p:cNvSpPr>
            <a:spLocks noGrp="1"/>
          </p:cNvSpPr>
          <p:nvPr>
            <p:ph sz="quarter" idx="19"/>
          </p:nvPr>
        </p:nvSpPr>
        <p:spPr bwMode="gray">
          <a:xfrm>
            <a:off x="263524" y="1844826"/>
            <a:ext cx="5615515" cy="3750076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xmlns="" id="{472A5454-E304-485F-BED3-72DE598380D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 bwMode="gray">
          <a:xfrm>
            <a:off x="0" y="5805264"/>
            <a:ext cx="12192000" cy="539974"/>
          </a:xfrm>
          <a:solidFill>
            <a:srgbClr val="D9D9D9"/>
          </a:solidFill>
        </p:spPr>
        <p:txBody>
          <a:bodyPr lIns="252000" tIns="0" rIns="25200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xmlns="" id="{B7C40710-3A2B-42E1-9BDA-515066820A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4" y="187199"/>
            <a:ext cx="8856000" cy="435600"/>
          </a:xfrm>
        </p:spPr>
        <p:txBody>
          <a:bodyPr anchor="ctr">
            <a:no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B58E25D4-9655-4B36-AFCF-82E43E68ADAE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C24EC536-6FE3-4540-8D85-74C58F0BF69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Footer Placeholder 5">
            <a:extLst>
              <a:ext uri="{FF2B5EF4-FFF2-40B4-BE49-F238E27FC236}">
                <a16:creationId xmlns:a16="http://schemas.microsoft.com/office/drawing/2014/main" xmlns="" id="{FBBF5839-79CC-48EC-9AA6-0BA31D953B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16400" y="6433200"/>
            <a:ext cx="6123600" cy="255600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900"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6208151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(2) &amp; Box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>
            <a:extLst>
              <a:ext uri="{FF2B5EF4-FFF2-40B4-BE49-F238E27FC236}">
                <a16:creationId xmlns:a16="http://schemas.microsoft.com/office/drawing/2014/main" xmlns="" id="{545FE617-D52B-476E-948B-310DEA38FD3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310313" y="1473607"/>
            <a:ext cx="5616575" cy="4187622"/>
          </a:xfrm>
          <a:noFill/>
        </p:spPr>
        <p:txBody>
          <a:bodyPr tIns="756000" anchor="ctr"/>
          <a:lstStyle>
            <a:lvl1pPr algn="ctr">
              <a:defRPr>
                <a:solidFill>
                  <a:srgbClr val="737373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xmlns="" id="{08FD9A92-F0CB-4C7E-924C-849F9F88C97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>
          <a:xfrm>
            <a:off x="263524" y="1473607"/>
            <a:ext cx="5615516" cy="252000"/>
          </a:xfrm>
        </p:spPr>
        <p:txBody>
          <a:bodyPr lIns="0" tIns="0" rIns="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xmlns="" id="{18FC10F9-7B1A-4EE2-839B-96181B8B1B71}"/>
              </a:ext>
            </a:extLst>
          </p:cNvPr>
          <p:cNvSpPr>
            <a:spLocks noGrp="1"/>
          </p:cNvSpPr>
          <p:nvPr>
            <p:ph sz="quarter" idx="19"/>
          </p:nvPr>
        </p:nvSpPr>
        <p:spPr bwMode="gray">
          <a:xfrm>
            <a:off x="263524" y="1844826"/>
            <a:ext cx="5615515" cy="3750076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xmlns="" id="{472A5454-E304-485F-BED3-72DE598380D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 bwMode="gray">
          <a:xfrm>
            <a:off x="0" y="5805264"/>
            <a:ext cx="12192000" cy="539974"/>
          </a:xfrm>
          <a:solidFill>
            <a:schemeClr val="tx2"/>
          </a:solidFill>
        </p:spPr>
        <p:txBody>
          <a:bodyPr lIns="252000" tIns="0" rIns="25200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xmlns="" id="{B7C40710-3A2B-42E1-9BDA-515066820A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4" y="187199"/>
            <a:ext cx="8856000" cy="435600"/>
          </a:xfrm>
        </p:spPr>
        <p:txBody>
          <a:bodyPr anchor="ctr">
            <a:no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B58E25D4-9655-4B36-AFCF-82E43E68ADAE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C24EC536-6FE3-4540-8D85-74C58F0BF69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Footer Placeholder 5">
            <a:extLst>
              <a:ext uri="{FF2B5EF4-FFF2-40B4-BE49-F238E27FC236}">
                <a16:creationId xmlns:a16="http://schemas.microsoft.com/office/drawing/2014/main" xmlns="" id="{D7C57E55-D7E2-4BBD-B102-BA3CF40CF5C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16400" y="6433200"/>
            <a:ext cx="6123600" cy="255600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900"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7805360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Red)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1">
            <a:extLst>
              <a:ext uri="{FF2B5EF4-FFF2-40B4-BE49-F238E27FC236}">
                <a16:creationId xmlns:a16="http://schemas.microsoft.com/office/drawing/2014/main" xmlns="" id="{D81C83C8-EE7C-474B-8A4C-FA0B57CF463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>
          <a:xfrm>
            <a:off x="263524" y="1392644"/>
            <a:ext cx="4002052" cy="4952594"/>
          </a:xfrm>
          <a:solidFill>
            <a:schemeClr val="tx2"/>
          </a:solidFill>
        </p:spPr>
        <p:txBody>
          <a:bodyPr lIns="324000" tIns="252000" rIns="324000" bIns="4680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2000" b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xmlns="" id="{90F2AEDF-5408-4280-B382-645AF1003C84}"/>
              </a:ext>
            </a:extLst>
          </p:cNvPr>
          <p:cNvSpPr>
            <a:spLocks noGrp="1"/>
          </p:cNvSpPr>
          <p:nvPr>
            <p:ph sz="quarter" idx="19"/>
          </p:nvPr>
        </p:nvSpPr>
        <p:spPr bwMode="gray">
          <a:xfrm>
            <a:off x="4543425" y="1376363"/>
            <a:ext cx="7383464" cy="4968875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xmlns="" id="{AD1B31ED-E7F7-4220-8A41-FD0D2DB422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4" y="187199"/>
            <a:ext cx="8856000" cy="435600"/>
          </a:xfrm>
        </p:spPr>
        <p:txBody>
          <a:bodyPr anchor="ctr">
            <a:noAutofit/>
          </a:bodyPr>
          <a:lstStyle>
            <a:lvl1pPr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52503652-AA62-40BC-80C2-0508E1AED233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C24EC536-6FE3-4540-8D85-74C58F0BF69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Footer Placeholder 5">
            <a:extLst>
              <a:ext uri="{FF2B5EF4-FFF2-40B4-BE49-F238E27FC236}">
                <a16:creationId xmlns:a16="http://schemas.microsoft.com/office/drawing/2014/main" xmlns="" id="{CBBCBF88-F16E-459A-B04C-3A7A90CDCA3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16400" y="6433200"/>
            <a:ext cx="6123600" cy="255600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900"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837228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 - Darker Picture 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Rectangle 40">
            <a:extLst>
              <a:ext uri="{FF2B5EF4-FFF2-40B4-BE49-F238E27FC236}">
                <a16:creationId xmlns:a16="http://schemas.microsoft.com/office/drawing/2014/main" xmlns="" id="{EB87F6C0-6A0D-49A9-B92D-47AC66E82F62}"/>
              </a:ext>
            </a:extLst>
          </p:cNvPr>
          <p:cNvSpPr/>
          <p:nvPr userDrawn="1"/>
        </p:nvSpPr>
        <p:spPr>
          <a:xfrm rot="20700000">
            <a:off x="11630945" y="891479"/>
            <a:ext cx="125787" cy="6268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GB" sz="1400" dirty="0" err="1">
              <a:solidFill>
                <a:schemeClr val="tx1"/>
              </a:solidFill>
            </a:endParaRPr>
          </a:p>
        </p:txBody>
      </p:sp>
      <p:sp>
        <p:nvSpPr>
          <p:cNvPr id="48" name="Picture Placeholder 47">
            <a:extLst>
              <a:ext uri="{FF2B5EF4-FFF2-40B4-BE49-F238E27FC236}">
                <a16:creationId xmlns:a16="http://schemas.microsoft.com/office/drawing/2014/main" xmlns="" id="{7B060B46-A36B-42A8-BC2B-4D51C11E5CF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" y="4"/>
            <a:ext cx="12193196" cy="4738686"/>
          </a:xfrm>
          <a:custGeom>
            <a:avLst/>
            <a:gdLst>
              <a:gd name="connsiteX0" fmla="*/ 9943716 w 12193196"/>
              <a:gd name="connsiteY0" fmla="*/ 1018573 h 4738686"/>
              <a:gd name="connsiteX1" fmla="*/ 9943716 w 12193196"/>
              <a:gd name="connsiteY1" fmla="*/ 1018583 h 4738686"/>
              <a:gd name="connsiteX2" fmla="*/ 9972804 w 12193196"/>
              <a:gd name="connsiteY2" fmla="*/ 1068171 h 4738686"/>
              <a:gd name="connsiteX3" fmla="*/ 9944107 w 12193196"/>
              <a:gd name="connsiteY3" fmla="*/ 1122040 h 4738686"/>
              <a:gd name="connsiteX4" fmla="*/ 9914039 w 12193196"/>
              <a:gd name="connsiteY4" fmla="*/ 1079406 h 4738686"/>
              <a:gd name="connsiteX5" fmla="*/ 9914039 w 12193196"/>
              <a:gd name="connsiteY5" fmla="*/ 1067545 h 4738686"/>
              <a:gd name="connsiteX6" fmla="*/ 9943716 w 12193196"/>
              <a:gd name="connsiteY6" fmla="*/ 1018573 h 4738686"/>
              <a:gd name="connsiteX7" fmla="*/ 11408435 w 12193196"/>
              <a:gd name="connsiteY7" fmla="*/ 1012941 h 4738686"/>
              <a:gd name="connsiteX8" fmla="*/ 11434684 w 12193196"/>
              <a:gd name="connsiteY8" fmla="*/ 1041128 h 4738686"/>
              <a:gd name="connsiteX9" fmla="*/ 11379836 w 12193196"/>
              <a:gd name="connsiteY9" fmla="*/ 1041128 h 4738686"/>
              <a:gd name="connsiteX10" fmla="*/ 11408435 w 12193196"/>
              <a:gd name="connsiteY10" fmla="*/ 1012941 h 4738686"/>
              <a:gd name="connsiteX11" fmla="*/ 10350271 w 12193196"/>
              <a:gd name="connsiteY11" fmla="*/ 1012834 h 4738686"/>
              <a:gd name="connsiteX12" fmla="*/ 10376618 w 12193196"/>
              <a:gd name="connsiteY12" fmla="*/ 1041021 h 4738686"/>
              <a:gd name="connsiteX13" fmla="*/ 10321770 w 12193196"/>
              <a:gd name="connsiteY13" fmla="*/ 1041021 h 4738686"/>
              <a:gd name="connsiteX14" fmla="*/ 10350271 w 12193196"/>
              <a:gd name="connsiteY14" fmla="*/ 1012834 h 4738686"/>
              <a:gd name="connsiteX15" fmla="*/ 10912556 w 12193196"/>
              <a:gd name="connsiteY15" fmla="*/ 1012833 h 4738686"/>
              <a:gd name="connsiteX16" fmla="*/ 10938805 w 12193196"/>
              <a:gd name="connsiteY16" fmla="*/ 1041021 h 4738686"/>
              <a:gd name="connsiteX17" fmla="*/ 10883957 w 12193196"/>
              <a:gd name="connsiteY17" fmla="*/ 1041021 h 4738686"/>
              <a:gd name="connsiteX18" fmla="*/ 10912556 w 12193196"/>
              <a:gd name="connsiteY18" fmla="*/ 1012833 h 4738686"/>
              <a:gd name="connsiteX19" fmla="*/ 11605397 w 12193196"/>
              <a:gd name="connsiteY19" fmla="*/ 1000835 h 4738686"/>
              <a:gd name="connsiteX20" fmla="*/ 11568179 w 12193196"/>
              <a:gd name="connsiteY20" fmla="*/ 1043841 h 4738686"/>
              <a:gd name="connsiteX21" fmla="*/ 11535270 w 12193196"/>
              <a:gd name="connsiteY21" fmla="*/ 1000923 h 4738686"/>
              <a:gd name="connsiteX22" fmla="*/ 11476897 w 12193196"/>
              <a:gd name="connsiteY22" fmla="*/ 1000923 h 4738686"/>
              <a:gd name="connsiteX23" fmla="*/ 11476897 w 12193196"/>
              <a:gd name="connsiteY23" fmla="*/ 1011922 h 4738686"/>
              <a:gd name="connsiteX24" fmla="*/ 11479443 w 12193196"/>
              <a:gd name="connsiteY24" fmla="*/ 1012079 h 4738686"/>
              <a:gd name="connsiteX25" fmla="*/ 11516074 w 12193196"/>
              <a:gd name="connsiteY25" fmla="*/ 1033136 h 4738686"/>
              <a:gd name="connsiteX26" fmla="*/ 11539971 w 12193196"/>
              <a:gd name="connsiteY26" fmla="*/ 1064899 h 4738686"/>
              <a:gd name="connsiteX27" fmla="*/ 11500893 w 12193196"/>
              <a:gd name="connsiteY27" fmla="*/ 1110021 h 4738686"/>
              <a:gd name="connsiteX28" fmla="*/ 11541245 w 12193196"/>
              <a:gd name="connsiteY28" fmla="*/ 1110021 h 4738686"/>
              <a:gd name="connsiteX29" fmla="*/ 11558776 w 12193196"/>
              <a:gd name="connsiteY29" fmla="*/ 1089874 h 4738686"/>
              <a:gd name="connsiteX30" fmla="*/ 11596386 w 12193196"/>
              <a:gd name="connsiteY30" fmla="*/ 1139824 h 4738686"/>
              <a:gd name="connsiteX31" fmla="*/ 11641635 w 12193196"/>
              <a:gd name="connsiteY31" fmla="*/ 1139824 h 4738686"/>
              <a:gd name="connsiteX32" fmla="*/ 11569942 w 12193196"/>
              <a:gd name="connsiteY32" fmla="*/ 1046192 h 4738686"/>
              <a:gd name="connsiteX33" fmla="*/ 11606474 w 12193196"/>
              <a:gd name="connsiteY33" fmla="*/ 1046221 h 4738686"/>
              <a:gd name="connsiteX34" fmla="*/ 11645651 w 12193196"/>
              <a:gd name="connsiteY34" fmla="*/ 1000835 h 4738686"/>
              <a:gd name="connsiteX35" fmla="*/ 11409709 w 12193196"/>
              <a:gd name="connsiteY35" fmla="*/ 997750 h 4738686"/>
              <a:gd name="connsiteX36" fmla="*/ 11338211 w 12193196"/>
              <a:gd name="connsiteY36" fmla="*/ 1065684 h 4738686"/>
              <a:gd name="connsiteX37" fmla="*/ 11421168 w 12193196"/>
              <a:gd name="connsiteY37" fmla="*/ 1143008 h 4738686"/>
              <a:gd name="connsiteX38" fmla="*/ 11467788 w 12193196"/>
              <a:gd name="connsiteY38" fmla="*/ 1135231 h 4738686"/>
              <a:gd name="connsiteX39" fmla="*/ 11470041 w 12193196"/>
              <a:gd name="connsiteY39" fmla="*/ 1134527 h 4738686"/>
              <a:gd name="connsiteX40" fmla="*/ 11470041 w 12193196"/>
              <a:gd name="connsiteY40" fmla="*/ 1116084 h 4738686"/>
              <a:gd name="connsiteX41" fmla="*/ 11466417 w 12193196"/>
              <a:gd name="connsiteY41" fmla="*/ 1117376 h 4738686"/>
              <a:gd name="connsiteX42" fmla="*/ 11436545 w 12193196"/>
              <a:gd name="connsiteY42" fmla="*/ 1122088 h 4738686"/>
              <a:gd name="connsiteX43" fmla="*/ 11379738 w 12193196"/>
              <a:gd name="connsiteY43" fmla="*/ 1058034 h 4738686"/>
              <a:gd name="connsiteX44" fmla="*/ 11472979 w 12193196"/>
              <a:gd name="connsiteY44" fmla="*/ 1058034 h 4738686"/>
              <a:gd name="connsiteX45" fmla="*/ 11472979 w 12193196"/>
              <a:gd name="connsiteY45" fmla="*/ 1055330 h 4738686"/>
              <a:gd name="connsiteX46" fmla="*/ 11409709 w 12193196"/>
              <a:gd name="connsiteY46" fmla="*/ 997750 h 4738686"/>
              <a:gd name="connsiteX47" fmla="*/ 9781426 w 12193196"/>
              <a:gd name="connsiteY47" fmla="*/ 997723 h 4738686"/>
              <a:gd name="connsiteX48" fmla="*/ 9724032 w 12193196"/>
              <a:gd name="connsiteY48" fmla="*/ 1038926 h 4738686"/>
              <a:gd name="connsiteX49" fmla="*/ 9765951 w 12193196"/>
              <a:gd name="connsiteY49" fmla="*/ 1082648 h 4738686"/>
              <a:gd name="connsiteX50" fmla="*/ 9795725 w 12193196"/>
              <a:gd name="connsiteY50" fmla="*/ 1108378 h 4738686"/>
              <a:gd name="connsiteX51" fmla="*/ 9770261 w 12193196"/>
              <a:gd name="connsiteY51" fmla="*/ 1124901 h 4738686"/>
              <a:gd name="connsiteX52" fmla="*/ 9728439 w 12193196"/>
              <a:gd name="connsiteY52" fmla="*/ 1110376 h 4738686"/>
              <a:gd name="connsiteX53" fmla="*/ 9724326 w 12193196"/>
              <a:gd name="connsiteY53" fmla="*/ 1107888 h 4738686"/>
              <a:gd name="connsiteX54" fmla="*/ 9724326 w 12193196"/>
              <a:gd name="connsiteY54" fmla="*/ 1137271 h 4738686"/>
              <a:gd name="connsiteX55" fmla="*/ 9727166 w 12193196"/>
              <a:gd name="connsiteY55" fmla="*/ 1137888 h 4738686"/>
              <a:gd name="connsiteX56" fmla="*/ 9768987 w 12193196"/>
              <a:gd name="connsiteY56" fmla="*/ 1142971 h 4738686"/>
              <a:gd name="connsiteX57" fmla="*/ 9830593 w 12193196"/>
              <a:gd name="connsiteY57" fmla="*/ 1100631 h 4738686"/>
              <a:gd name="connsiteX58" fmla="*/ 9786911 w 12193196"/>
              <a:gd name="connsiteY58" fmla="*/ 1052913 h 4738686"/>
              <a:gd name="connsiteX59" fmla="*/ 9786911 w 12193196"/>
              <a:gd name="connsiteY59" fmla="*/ 1052884 h 4738686"/>
              <a:gd name="connsiteX60" fmla="*/ 9758899 w 12193196"/>
              <a:gd name="connsiteY60" fmla="*/ 1028779 h 4738686"/>
              <a:gd name="connsiteX61" fmla="*/ 9779075 w 12193196"/>
              <a:gd name="connsiteY61" fmla="*/ 1015714 h 4738686"/>
              <a:gd name="connsiteX62" fmla="*/ 9814824 w 12193196"/>
              <a:gd name="connsiteY62" fmla="*/ 1028006 h 4738686"/>
              <a:gd name="connsiteX63" fmla="*/ 9820799 w 12193196"/>
              <a:gd name="connsiteY63" fmla="*/ 1031649 h 4738686"/>
              <a:gd name="connsiteX64" fmla="*/ 9820799 w 12193196"/>
              <a:gd name="connsiteY64" fmla="*/ 1003079 h 4738686"/>
              <a:gd name="connsiteX65" fmla="*/ 9816097 w 12193196"/>
              <a:gd name="connsiteY65" fmla="*/ 1002101 h 4738686"/>
              <a:gd name="connsiteX66" fmla="*/ 9781426 w 12193196"/>
              <a:gd name="connsiteY66" fmla="*/ 997723 h 4738686"/>
              <a:gd name="connsiteX67" fmla="*/ 10913830 w 12193196"/>
              <a:gd name="connsiteY67" fmla="*/ 997682 h 4738686"/>
              <a:gd name="connsiteX68" fmla="*/ 10842430 w 12193196"/>
              <a:gd name="connsiteY68" fmla="*/ 1065566 h 4738686"/>
              <a:gd name="connsiteX69" fmla="*/ 10925289 w 12193196"/>
              <a:gd name="connsiteY69" fmla="*/ 1142940 h 4738686"/>
              <a:gd name="connsiteX70" fmla="*/ 10971909 w 12193196"/>
              <a:gd name="connsiteY70" fmla="*/ 1135104 h 4738686"/>
              <a:gd name="connsiteX71" fmla="*/ 10974162 w 12193196"/>
              <a:gd name="connsiteY71" fmla="*/ 1134399 h 4738686"/>
              <a:gd name="connsiteX72" fmla="*/ 10974162 w 12193196"/>
              <a:gd name="connsiteY72" fmla="*/ 1115976 h 4738686"/>
              <a:gd name="connsiteX73" fmla="*/ 10970538 w 12193196"/>
              <a:gd name="connsiteY73" fmla="*/ 1117289 h 4738686"/>
              <a:gd name="connsiteX74" fmla="*/ 10940666 w 12193196"/>
              <a:gd name="connsiteY74" fmla="*/ 1122000 h 4738686"/>
              <a:gd name="connsiteX75" fmla="*/ 10883957 w 12193196"/>
              <a:gd name="connsiteY75" fmla="*/ 1057926 h 4738686"/>
              <a:gd name="connsiteX76" fmla="*/ 10977100 w 12193196"/>
              <a:gd name="connsiteY76" fmla="*/ 1057926 h 4738686"/>
              <a:gd name="connsiteX77" fmla="*/ 10977100 w 12193196"/>
              <a:gd name="connsiteY77" fmla="*/ 1055242 h 4738686"/>
              <a:gd name="connsiteX78" fmla="*/ 10913830 w 12193196"/>
              <a:gd name="connsiteY78" fmla="*/ 997682 h 4738686"/>
              <a:gd name="connsiteX79" fmla="*/ 10351643 w 12193196"/>
              <a:gd name="connsiteY79" fmla="*/ 997682 h 4738686"/>
              <a:gd name="connsiteX80" fmla="*/ 10280145 w 12193196"/>
              <a:gd name="connsiteY80" fmla="*/ 1065566 h 4738686"/>
              <a:gd name="connsiteX81" fmla="*/ 10363102 w 12193196"/>
              <a:gd name="connsiteY81" fmla="*/ 1142940 h 4738686"/>
              <a:gd name="connsiteX82" fmla="*/ 10409722 w 12193196"/>
              <a:gd name="connsiteY82" fmla="*/ 1135104 h 4738686"/>
              <a:gd name="connsiteX83" fmla="*/ 10411975 w 12193196"/>
              <a:gd name="connsiteY83" fmla="*/ 1134399 h 4738686"/>
              <a:gd name="connsiteX84" fmla="*/ 10411975 w 12193196"/>
              <a:gd name="connsiteY84" fmla="*/ 1115976 h 4738686"/>
              <a:gd name="connsiteX85" fmla="*/ 10408351 w 12193196"/>
              <a:gd name="connsiteY85" fmla="*/ 1117289 h 4738686"/>
              <a:gd name="connsiteX86" fmla="*/ 10378479 w 12193196"/>
              <a:gd name="connsiteY86" fmla="*/ 1122000 h 4738686"/>
              <a:gd name="connsiteX87" fmla="*/ 10321672 w 12193196"/>
              <a:gd name="connsiteY87" fmla="*/ 1057926 h 4738686"/>
              <a:gd name="connsiteX88" fmla="*/ 10414913 w 12193196"/>
              <a:gd name="connsiteY88" fmla="*/ 1057926 h 4738686"/>
              <a:gd name="connsiteX89" fmla="*/ 10414913 w 12193196"/>
              <a:gd name="connsiteY89" fmla="*/ 1055242 h 4738686"/>
              <a:gd name="connsiteX90" fmla="*/ 10351643 w 12193196"/>
              <a:gd name="connsiteY90" fmla="*/ 997682 h 4738686"/>
              <a:gd name="connsiteX91" fmla="*/ 10104241 w 12193196"/>
              <a:gd name="connsiteY91" fmla="*/ 997212 h 4738686"/>
              <a:gd name="connsiteX92" fmla="*/ 10101107 w 12193196"/>
              <a:gd name="connsiteY92" fmla="*/ 997702 h 4738686"/>
              <a:gd name="connsiteX93" fmla="*/ 10040873 w 12193196"/>
              <a:gd name="connsiteY93" fmla="*/ 1007280 h 4738686"/>
              <a:gd name="connsiteX94" fmla="*/ 10040873 w 12193196"/>
              <a:gd name="connsiteY94" fmla="*/ 1017937 h 4738686"/>
              <a:gd name="connsiteX95" fmla="*/ 10043517 w 12193196"/>
              <a:gd name="connsiteY95" fmla="*/ 1018005 h 4738686"/>
              <a:gd name="connsiteX96" fmla="*/ 10066142 w 12193196"/>
              <a:gd name="connsiteY96" fmla="*/ 1040865 h 4738686"/>
              <a:gd name="connsiteX97" fmla="*/ 10066142 w 12193196"/>
              <a:gd name="connsiteY97" fmla="*/ 1139787 h 4738686"/>
              <a:gd name="connsiteX98" fmla="*/ 10104241 w 12193196"/>
              <a:gd name="connsiteY98" fmla="*/ 1139787 h 4738686"/>
              <a:gd name="connsiteX99" fmla="*/ 9914333 w 12193196"/>
              <a:gd name="connsiteY99" fmla="*/ 997212 h 4738686"/>
              <a:gd name="connsiteX100" fmla="*/ 9911199 w 12193196"/>
              <a:gd name="connsiteY100" fmla="*/ 997703 h 4738686"/>
              <a:gd name="connsiteX101" fmla="*/ 9850377 w 12193196"/>
              <a:gd name="connsiteY101" fmla="*/ 1007280 h 4738686"/>
              <a:gd name="connsiteX102" fmla="*/ 9850377 w 12193196"/>
              <a:gd name="connsiteY102" fmla="*/ 1017937 h 4738686"/>
              <a:gd name="connsiteX103" fmla="*/ 9853021 w 12193196"/>
              <a:gd name="connsiteY103" fmla="*/ 1018005 h 4738686"/>
              <a:gd name="connsiteX104" fmla="*/ 9875940 w 12193196"/>
              <a:gd name="connsiteY104" fmla="*/ 1040865 h 4738686"/>
              <a:gd name="connsiteX105" fmla="*/ 9875940 w 12193196"/>
              <a:gd name="connsiteY105" fmla="*/ 1198327 h 4738686"/>
              <a:gd name="connsiteX106" fmla="*/ 9914039 w 12193196"/>
              <a:gd name="connsiteY106" fmla="*/ 1198327 h 4738686"/>
              <a:gd name="connsiteX107" fmla="*/ 9914039 w 12193196"/>
              <a:gd name="connsiteY107" fmla="*/ 1126594 h 4738686"/>
              <a:gd name="connsiteX108" fmla="*/ 9953216 w 12193196"/>
              <a:gd name="connsiteY108" fmla="*/ 1142940 h 4738686"/>
              <a:gd name="connsiteX109" fmla="*/ 10014234 w 12193196"/>
              <a:gd name="connsiteY109" fmla="*/ 1068171 h 4738686"/>
              <a:gd name="connsiteX110" fmla="*/ 9954587 w 12193196"/>
              <a:gd name="connsiteY110" fmla="*/ 997654 h 4738686"/>
              <a:gd name="connsiteX111" fmla="*/ 9954587 w 12193196"/>
              <a:gd name="connsiteY111" fmla="*/ 997682 h 4738686"/>
              <a:gd name="connsiteX112" fmla="*/ 9914333 w 12193196"/>
              <a:gd name="connsiteY112" fmla="*/ 1017339 h 4738686"/>
              <a:gd name="connsiteX113" fmla="*/ 9585052 w 12193196"/>
              <a:gd name="connsiteY113" fmla="*/ 997212 h 4738686"/>
              <a:gd name="connsiteX114" fmla="*/ 9581918 w 12193196"/>
              <a:gd name="connsiteY114" fmla="*/ 997703 h 4738686"/>
              <a:gd name="connsiteX115" fmla="*/ 9520704 w 12193196"/>
              <a:gd name="connsiteY115" fmla="*/ 1007280 h 4738686"/>
              <a:gd name="connsiteX116" fmla="*/ 9520704 w 12193196"/>
              <a:gd name="connsiteY116" fmla="*/ 1017986 h 4738686"/>
              <a:gd name="connsiteX117" fmla="*/ 9523348 w 12193196"/>
              <a:gd name="connsiteY117" fmla="*/ 1017986 h 4738686"/>
              <a:gd name="connsiteX118" fmla="*/ 9546952 w 12193196"/>
              <a:gd name="connsiteY118" fmla="*/ 1040846 h 4738686"/>
              <a:gd name="connsiteX119" fmla="*/ 9546952 w 12193196"/>
              <a:gd name="connsiteY119" fmla="*/ 1139767 h 4738686"/>
              <a:gd name="connsiteX120" fmla="*/ 9585052 w 12193196"/>
              <a:gd name="connsiteY120" fmla="*/ 1139767 h 4738686"/>
              <a:gd name="connsiteX121" fmla="*/ 9585052 w 12193196"/>
              <a:gd name="connsiteY121" fmla="*/ 1066967 h 4738686"/>
              <a:gd name="connsiteX122" fmla="*/ 9622661 w 12193196"/>
              <a:gd name="connsiteY122" fmla="*/ 1022628 h 4738686"/>
              <a:gd name="connsiteX123" fmla="*/ 9641858 w 12193196"/>
              <a:gd name="connsiteY123" fmla="*/ 1062687 h 4738686"/>
              <a:gd name="connsiteX124" fmla="*/ 9641858 w 12193196"/>
              <a:gd name="connsiteY124" fmla="*/ 1139767 h 4738686"/>
              <a:gd name="connsiteX125" fmla="*/ 9680055 w 12193196"/>
              <a:gd name="connsiteY125" fmla="*/ 1139767 h 4738686"/>
              <a:gd name="connsiteX126" fmla="*/ 9680055 w 12193196"/>
              <a:gd name="connsiteY126" fmla="*/ 1040866 h 4738686"/>
              <a:gd name="connsiteX127" fmla="*/ 9637647 w 12193196"/>
              <a:gd name="connsiteY127" fmla="*/ 997682 h 4738686"/>
              <a:gd name="connsiteX128" fmla="*/ 9585052 w 12193196"/>
              <a:gd name="connsiteY128" fmla="*/ 1028230 h 4738686"/>
              <a:gd name="connsiteX129" fmla="*/ 10204730 w 12193196"/>
              <a:gd name="connsiteY129" fmla="*/ 997212 h 4738686"/>
              <a:gd name="connsiteX130" fmla="*/ 10201596 w 12193196"/>
              <a:gd name="connsiteY130" fmla="*/ 997702 h 4738686"/>
              <a:gd name="connsiteX131" fmla="*/ 10140774 w 12193196"/>
              <a:gd name="connsiteY131" fmla="*/ 1007280 h 4738686"/>
              <a:gd name="connsiteX132" fmla="*/ 10140774 w 12193196"/>
              <a:gd name="connsiteY132" fmla="*/ 1017985 h 4738686"/>
              <a:gd name="connsiteX133" fmla="*/ 10143418 w 12193196"/>
              <a:gd name="connsiteY133" fmla="*/ 1017985 h 4738686"/>
              <a:gd name="connsiteX134" fmla="*/ 10166631 w 12193196"/>
              <a:gd name="connsiteY134" fmla="*/ 1040845 h 4738686"/>
              <a:gd name="connsiteX135" fmla="*/ 10166631 w 12193196"/>
              <a:gd name="connsiteY135" fmla="*/ 1139766 h 4738686"/>
              <a:gd name="connsiteX136" fmla="*/ 10204730 w 12193196"/>
              <a:gd name="connsiteY136" fmla="*/ 1139766 h 4738686"/>
              <a:gd name="connsiteX137" fmla="*/ 10204730 w 12193196"/>
              <a:gd name="connsiteY137" fmla="*/ 1068455 h 4738686"/>
              <a:gd name="connsiteX138" fmla="*/ 10237749 w 12193196"/>
              <a:gd name="connsiteY138" fmla="*/ 1028396 h 4738686"/>
              <a:gd name="connsiteX139" fmla="*/ 10244592 w 12193196"/>
              <a:gd name="connsiteY139" fmla="*/ 1028377 h 4738686"/>
              <a:gd name="connsiteX140" fmla="*/ 10257815 w 12193196"/>
              <a:gd name="connsiteY140" fmla="*/ 1030933 h 4738686"/>
              <a:gd name="connsiteX141" fmla="*/ 10263985 w 12193196"/>
              <a:gd name="connsiteY141" fmla="*/ 1032667 h 4738686"/>
              <a:gd name="connsiteX142" fmla="*/ 10263985 w 12193196"/>
              <a:gd name="connsiteY142" fmla="*/ 1029112 h 4738686"/>
              <a:gd name="connsiteX143" fmla="*/ 10263985 w 12193196"/>
              <a:gd name="connsiteY143" fmla="*/ 999484 h 4738686"/>
              <a:gd name="connsiteX144" fmla="*/ 10261732 w 12193196"/>
              <a:gd name="connsiteY144" fmla="*/ 999141 h 4738686"/>
              <a:gd name="connsiteX145" fmla="*/ 10243613 w 12193196"/>
              <a:gd name="connsiteY145" fmla="*/ 997682 h 4738686"/>
              <a:gd name="connsiteX146" fmla="*/ 10204730 w 12193196"/>
              <a:gd name="connsiteY146" fmla="*/ 1025889 h 4738686"/>
              <a:gd name="connsiteX147" fmla="*/ 10548800 w 12193196"/>
              <a:gd name="connsiteY147" fmla="*/ 957712 h 4738686"/>
              <a:gd name="connsiteX148" fmla="*/ 10548800 w 12193196"/>
              <a:gd name="connsiteY148" fmla="*/ 1000943 h 4738686"/>
              <a:gd name="connsiteX149" fmla="*/ 10523237 w 12193196"/>
              <a:gd name="connsiteY149" fmla="*/ 1000943 h 4738686"/>
              <a:gd name="connsiteX150" fmla="*/ 10523237 w 12193196"/>
              <a:gd name="connsiteY150" fmla="*/ 1017828 h 4738686"/>
              <a:gd name="connsiteX151" fmla="*/ 10548800 w 12193196"/>
              <a:gd name="connsiteY151" fmla="*/ 1017828 h 4738686"/>
              <a:gd name="connsiteX152" fmla="*/ 10548800 w 12193196"/>
              <a:gd name="connsiteY152" fmla="*/ 1103283 h 4738686"/>
              <a:gd name="connsiteX153" fmla="*/ 10601199 w 12193196"/>
              <a:gd name="connsiteY153" fmla="*/ 1143028 h 4738686"/>
              <a:gd name="connsiteX154" fmla="*/ 10623627 w 12193196"/>
              <a:gd name="connsiteY154" fmla="*/ 1140697 h 4738686"/>
              <a:gd name="connsiteX155" fmla="*/ 10625880 w 12193196"/>
              <a:gd name="connsiteY155" fmla="*/ 1140364 h 4738686"/>
              <a:gd name="connsiteX156" fmla="*/ 10625880 w 12193196"/>
              <a:gd name="connsiteY156" fmla="*/ 1123146 h 4738686"/>
              <a:gd name="connsiteX157" fmla="*/ 10622648 w 12193196"/>
              <a:gd name="connsiteY157" fmla="*/ 1123880 h 4738686"/>
              <a:gd name="connsiteX158" fmla="*/ 10611091 w 12193196"/>
              <a:gd name="connsiteY158" fmla="*/ 1124977 h 4738686"/>
              <a:gd name="connsiteX159" fmla="*/ 10586899 w 12193196"/>
              <a:gd name="connsiteY159" fmla="*/ 1098690 h 4738686"/>
              <a:gd name="connsiteX160" fmla="*/ 10586899 w 12193196"/>
              <a:gd name="connsiteY160" fmla="*/ 1017809 h 4738686"/>
              <a:gd name="connsiteX161" fmla="*/ 10629798 w 12193196"/>
              <a:gd name="connsiteY161" fmla="*/ 1017809 h 4738686"/>
              <a:gd name="connsiteX162" fmla="*/ 10629798 w 12193196"/>
              <a:gd name="connsiteY162" fmla="*/ 1000923 h 4738686"/>
              <a:gd name="connsiteX163" fmla="*/ 10586899 w 12193196"/>
              <a:gd name="connsiteY163" fmla="*/ 1000923 h 4738686"/>
              <a:gd name="connsiteX164" fmla="*/ 10586899 w 12193196"/>
              <a:gd name="connsiteY164" fmla="*/ 957712 h 4738686"/>
              <a:gd name="connsiteX165" fmla="*/ 11683359 w 12193196"/>
              <a:gd name="connsiteY165" fmla="*/ 957623 h 4738686"/>
              <a:gd name="connsiteX166" fmla="*/ 11683359 w 12193196"/>
              <a:gd name="connsiteY166" fmla="*/ 1000923 h 4738686"/>
              <a:gd name="connsiteX167" fmla="*/ 11657796 w 12193196"/>
              <a:gd name="connsiteY167" fmla="*/ 1000923 h 4738686"/>
              <a:gd name="connsiteX168" fmla="*/ 11657796 w 12193196"/>
              <a:gd name="connsiteY168" fmla="*/ 1017808 h 4738686"/>
              <a:gd name="connsiteX169" fmla="*/ 11683359 w 12193196"/>
              <a:gd name="connsiteY169" fmla="*/ 1017808 h 4738686"/>
              <a:gd name="connsiteX170" fmla="*/ 11683359 w 12193196"/>
              <a:gd name="connsiteY170" fmla="*/ 1103263 h 4738686"/>
              <a:gd name="connsiteX171" fmla="*/ 11735758 w 12193196"/>
              <a:gd name="connsiteY171" fmla="*/ 1143007 h 4738686"/>
              <a:gd name="connsiteX172" fmla="*/ 11758089 w 12193196"/>
              <a:gd name="connsiteY172" fmla="*/ 1140676 h 4738686"/>
              <a:gd name="connsiteX173" fmla="*/ 11760439 w 12193196"/>
              <a:gd name="connsiteY173" fmla="*/ 1140343 h 4738686"/>
              <a:gd name="connsiteX174" fmla="*/ 11760439 w 12193196"/>
              <a:gd name="connsiteY174" fmla="*/ 1123145 h 4738686"/>
              <a:gd name="connsiteX175" fmla="*/ 11757109 w 12193196"/>
              <a:gd name="connsiteY175" fmla="*/ 1123879 h 4738686"/>
              <a:gd name="connsiteX176" fmla="*/ 11745650 w 12193196"/>
              <a:gd name="connsiteY176" fmla="*/ 1124976 h 4738686"/>
              <a:gd name="connsiteX177" fmla="*/ 11721458 w 12193196"/>
              <a:gd name="connsiteY177" fmla="*/ 1098689 h 4738686"/>
              <a:gd name="connsiteX178" fmla="*/ 11721458 w 12193196"/>
              <a:gd name="connsiteY178" fmla="*/ 1017808 h 4738686"/>
              <a:gd name="connsiteX179" fmla="*/ 11764357 w 12193196"/>
              <a:gd name="connsiteY179" fmla="*/ 1017808 h 4738686"/>
              <a:gd name="connsiteX180" fmla="*/ 11764357 w 12193196"/>
              <a:gd name="connsiteY180" fmla="*/ 1000923 h 4738686"/>
              <a:gd name="connsiteX181" fmla="*/ 11721458 w 12193196"/>
              <a:gd name="connsiteY181" fmla="*/ 1000923 h 4738686"/>
              <a:gd name="connsiteX182" fmla="*/ 11721458 w 12193196"/>
              <a:gd name="connsiteY182" fmla="*/ 957623 h 4738686"/>
              <a:gd name="connsiteX183" fmla="*/ 11073573 w 12193196"/>
              <a:gd name="connsiteY183" fmla="*/ 941062 h 4738686"/>
              <a:gd name="connsiteX184" fmla="*/ 11073573 w 12193196"/>
              <a:gd name="connsiteY184" fmla="*/ 952413 h 4738686"/>
              <a:gd name="connsiteX185" fmla="*/ 11081212 w 12193196"/>
              <a:gd name="connsiteY185" fmla="*/ 953686 h 4738686"/>
              <a:gd name="connsiteX186" fmla="*/ 11106384 w 12193196"/>
              <a:gd name="connsiteY186" fmla="*/ 980541 h 4738686"/>
              <a:gd name="connsiteX187" fmla="*/ 11106384 w 12193196"/>
              <a:gd name="connsiteY187" fmla="*/ 1139765 h 4738686"/>
              <a:gd name="connsiteX188" fmla="*/ 11147323 w 12193196"/>
              <a:gd name="connsiteY188" fmla="*/ 1139765 h 4738686"/>
              <a:gd name="connsiteX189" fmla="*/ 11147323 w 12193196"/>
              <a:gd name="connsiteY189" fmla="*/ 981708 h 4738686"/>
              <a:gd name="connsiteX190" fmla="*/ 11251827 w 12193196"/>
              <a:gd name="connsiteY190" fmla="*/ 1139765 h 4738686"/>
              <a:gd name="connsiteX191" fmla="*/ 11302267 w 12193196"/>
              <a:gd name="connsiteY191" fmla="*/ 1139765 h 4738686"/>
              <a:gd name="connsiteX192" fmla="*/ 11302267 w 12193196"/>
              <a:gd name="connsiteY192" fmla="*/ 941062 h 4738686"/>
              <a:gd name="connsiteX193" fmla="*/ 11299623 w 12193196"/>
              <a:gd name="connsiteY193" fmla="*/ 941062 h 4738686"/>
              <a:gd name="connsiteX194" fmla="*/ 11261328 w 12193196"/>
              <a:gd name="connsiteY194" fmla="*/ 941062 h 4738686"/>
              <a:gd name="connsiteX195" fmla="*/ 11261328 w 12193196"/>
              <a:gd name="connsiteY195" fmla="*/ 1091990 h 4738686"/>
              <a:gd name="connsiteX196" fmla="*/ 11161721 w 12193196"/>
              <a:gd name="connsiteY196" fmla="*/ 941062 h 4738686"/>
              <a:gd name="connsiteX197" fmla="*/ 10085829 w 12193196"/>
              <a:gd name="connsiteY197" fmla="*/ 939103 h 4738686"/>
              <a:gd name="connsiteX198" fmla="*/ 10062691 w 12193196"/>
              <a:gd name="connsiteY198" fmla="*/ 957273 h 4738686"/>
              <a:gd name="connsiteX199" fmla="*/ 10080861 w 12193196"/>
              <a:gd name="connsiteY199" fmla="*/ 980411 h 4738686"/>
              <a:gd name="connsiteX200" fmla="*/ 10085535 w 12193196"/>
              <a:gd name="connsiteY200" fmla="*/ 980444 h 4738686"/>
              <a:gd name="connsiteX201" fmla="*/ 10085535 w 12193196"/>
              <a:gd name="connsiteY201" fmla="*/ 980415 h 4738686"/>
              <a:gd name="connsiteX202" fmla="*/ 10109531 w 12193196"/>
              <a:gd name="connsiteY202" fmla="*/ 959583 h 4738686"/>
              <a:gd name="connsiteX203" fmla="*/ 10085829 w 12193196"/>
              <a:gd name="connsiteY203" fmla="*/ 939103 h 4738686"/>
              <a:gd name="connsiteX204" fmla="*/ 9480646 w 12193196"/>
              <a:gd name="connsiteY204" fmla="*/ 937655 h 4738686"/>
              <a:gd name="connsiteX205" fmla="*/ 9477708 w 12193196"/>
              <a:gd name="connsiteY205" fmla="*/ 937919 h 4738686"/>
              <a:gd name="connsiteX206" fmla="*/ 9402293 w 12193196"/>
              <a:gd name="connsiteY206" fmla="*/ 944775 h 4738686"/>
              <a:gd name="connsiteX207" fmla="*/ 9402293 w 12193196"/>
              <a:gd name="connsiteY207" fmla="*/ 955931 h 4738686"/>
              <a:gd name="connsiteX208" fmla="*/ 9404644 w 12193196"/>
              <a:gd name="connsiteY208" fmla="*/ 956225 h 4738686"/>
              <a:gd name="connsiteX209" fmla="*/ 9435006 w 12193196"/>
              <a:gd name="connsiteY209" fmla="*/ 981690 h 4738686"/>
              <a:gd name="connsiteX210" fmla="*/ 9435006 w 12193196"/>
              <a:gd name="connsiteY210" fmla="*/ 1139748 h 4738686"/>
              <a:gd name="connsiteX211" fmla="*/ 9480646 w 12193196"/>
              <a:gd name="connsiteY211" fmla="*/ 1139748 h 4738686"/>
              <a:gd name="connsiteX212" fmla="*/ 10710404 w 12193196"/>
              <a:gd name="connsiteY212" fmla="*/ 932962 h 4738686"/>
              <a:gd name="connsiteX213" fmla="*/ 10707368 w 12193196"/>
              <a:gd name="connsiteY213" fmla="*/ 933364 h 4738686"/>
              <a:gd name="connsiteX214" fmla="*/ 10646644 w 12193196"/>
              <a:gd name="connsiteY214" fmla="*/ 940827 h 4738686"/>
              <a:gd name="connsiteX215" fmla="*/ 10646644 w 12193196"/>
              <a:gd name="connsiteY215" fmla="*/ 951600 h 4738686"/>
              <a:gd name="connsiteX216" fmla="*/ 10649288 w 12193196"/>
              <a:gd name="connsiteY216" fmla="*/ 951688 h 4738686"/>
              <a:gd name="connsiteX217" fmla="*/ 10672207 w 12193196"/>
              <a:gd name="connsiteY217" fmla="*/ 975146 h 4738686"/>
              <a:gd name="connsiteX218" fmla="*/ 10672207 w 12193196"/>
              <a:gd name="connsiteY218" fmla="*/ 1139766 h 4738686"/>
              <a:gd name="connsiteX219" fmla="*/ 10710404 w 12193196"/>
              <a:gd name="connsiteY219" fmla="*/ 1139766 h 4738686"/>
              <a:gd name="connsiteX220" fmla="*/ 10710404 w 12193196"/>
              <a:gd name="connsiteY220" fmla="*/ 1068719 h 4738686"/>
              <a:gd name="connsiteX221" fmla="*/ 10746251 w 12193196"/>
              <a:gd name="connsiteY221" fmla="*/ 1022628 h 4738686"/>
              <a:gd name="connsiteX222" fmla="*/ 10767504 w 12193196"/>
              <a:gd name="connsiteY222" fmla="*/ 1052657 h 4738686"/>
              <a:gd name="connsiteX223" fmla="*/ 10767504 w 12193196"/>
              <a:gd name="connsiteY223" fmla="*/ 1139766 h 4738686"/>
              <a:gd name="connsiteX224" fmla="*/ 10805604 w 12193196"/>
              <a:gd name="connsiteY224" fmla="*/ 1139766 h 4738686"/>
              <a:gd name="connsiteX225" fmla="*/ 10805604 w 12193196"/>
              <a:gd name="connsiteY225" fmla="*/ 1048347 h 4738686"/>
              <a:gd name="connsiteX226" fmla="*/ 10762705 w 12193196"/>
              <a:gd name="connsiteY226" fmla="*/ 997682 h 4738686"/>
              <a:gd name="connsiteX227" fmla="*/ 10710404 w 12193196"/>
              <a:gd name="connsiteY227" fmla="*/ 1028093 h 4738686"/>
              <a:gd name="connsiteX228" fmla="*/ 11691292 w 12193196"/>
              <a:gd name="connsiteY228" fmla="*/ 901218 h 4738686"/>
              <a:gd name="connsiteX229" fmla="*/ 11642419 w 12193196"/>
              <a:gd name="connsiteY229" fmla="*/ 957691 h 4738686"/>
              <a:gd name="connsiteX230" fmla="*/ 11682771 w 12193196"/>
              <a:gd name="connsiteY230" fmla="*/ 957691 h 4738686"/>
              <a:gd name="connsiteX231" fmla="*/ 11731644 w 12193196"/>
              <a:gd name="connsiteY231" fmla="*/ 901218 h 4738686"/>
              <a:gd name="connsiteX232" fmla="*/ 10547331 w 12193196"/>
              <a:gd name="connsiteY232" fmla="*/ 583241 h 4738686"/>
              <a:gd name="connsiteX233" fmla="*/ 10606292 w 12193196"/>
              <a:gd name="connsiteY233" fmla="*/ 728608 h 4738686"/>
              <a:gd name="connsiteX234" fmla="*/ 10488370 w 12193196"/>
              <a:gd name="connsiteY234" fmla="*/ 728608 h 4738686"/>
              <a:gd name="connsiteX235" fmla="*/ 11138508 w 12193196"/>
              <a:gd name="connsiteY235" fmla="*/ 528864 h 4738686"/>
              <a:gd name="connsiteX236" fmla="*/ 11138508 w 12193196"/>
              <a:gd name="connsiteY236" fmla="*/ 848508 h 4738686"/>
              <a:gd name="connsiteX237" fmla="*/ 11223130 w 12193196"/>
              <a:gd name="connsiteY237" fmla="*/ 848508 h 4738686"/>
              <a:gd name="connsiteX238" fmla="*/ 11223130 w 12193196"/>
              <a:gd name="connsiteY238" fmla="*/ 707844 h 4738686"/>
              <a:gd name="connsiteX239" fmla="*/ 11394136 w 12193196"/>
              <a:gd name="connsiteY239" fmla="*/ 707844 h 4738686"/>
              <a:gd name="connsiteX240" fmla="*/ 11394136 w 12193196"/>
              <a:gd name="connsiteY240" fmla="*/ 848508 h 4738686"/>
              <a:gd name="connsiteX241" fmla="*/ 11478856 w 12193196"/>
              <a:gd name="connsiteY241" fmla="*/ 848508 h 4738686"/>
              <a:gd name="connsiteX242" fmla="*/ 11478856 w 12193196"/>
              <a:gd name="connsiteY242" fmla="*/ 528864 h 4738686"/>
              <a:gd name="connsiteX243" fmla="*/ 11394136 w 12193196"/>
              <a:gd name="connsiteY243" fmla="*/ 528864 h 4738686"/>
              <a:gd name="connsiteX244" fmla="*/ 11394136 w 12193196"/>
              <a:gd name="connsiteY244" fmla="*/ 656678 h 4738686"/>
              <a:gd name="connsiteX245" fmla="*/ 11223130 w 12193196"/>
              <a:gd name="connsiteY245" fmla="*/ 656678 h 4738686"/>
              <a:gd name="connsiteX246" fmla="*/ 11223130 w 12193196"/>
              <a:gd name="connsiteY246" fmla="*/ 528864 h 4738686"/>
              <a:gd name="connsiteX247" fmla="*/ 10075937 w 12193196"/>
              <a:gd name="connsiteY247" fmla="*/ 528864 h 4738686"/>
              <a:gd name="connsiteX248" fmla="*/ 10075937 w 12193196"/>
              <a:gd name="connsiteY248" fmla="*/ 583241 h 4738686"/>
              <a:gd name="connsiteX249" fmla="*/ 10205416 w 12193196"/>
              <a:gd name="connsiteY249" fmla="*/ 583241 h 4738686"/>
              <a:gd name="connsiteX250" fmla="*/ 10205416 w 12193196"/>
              <a:gd name="connsiteY250" fmla="*/ 848508 h 4738686"/>
              <a:gd name="connsiteX251" fmla="*/ 10290038 w 12193196"/>
              <a:gd name="connsiteY251" fmla="*/ 848508 h 4738686"/>
              <a:gd name="connsiteX252" fmla="*/ 10290038 w 12193196"/>
              <a:gd name="connsiteY252" fmla="*/ 583241 h 4738686"/>
              <a:gd name="connsiteX253" fmla="*/ 10419517 w 12193196"/>
              <a:gd name="connsiteY253" fmla="*/ 583241 h 4738686"/>
              <a:gd name="connsiteX254" fmla="*/ 10419517 w 12193196"/>
              <a:gd name="connsiteY254" fmla="*/ 528864 h 4738686"/>
              <a:gd name="connsiteX255" fmla="*/ 10075937 w 12193196"/>
              <a:gd name="connsiteY255" fmla="*/ 528864 h 4738686"/>
              <a:gd name="connsiteX256" fmla="*/ 10495421 w 12193196"/>
              <a:gd name="connsiteY256" fmla="*/ 528864 h 4738686"/>
              <a:gd name="connsiteX257" fmla="*/ 10346060 w 12193196"/>
              <a:gd name="connsiteY257" fmla="*/ 848508 h 4738686"/>
              <a:gd name="connsiteX258" fmla="*/ 10440280 w 12193196"/>
              <a:gd name="connsiteY258" fmla="*/ 848508 h 4738686"/>
              <a:gd name="connsiteX259" fmla="*/ 10467998 w 12193196"/>
              <a:gd name="connsiteY259" fmla="*/ 779773 h 4738686"/>
              <a:gd name="connsiteX260" fmla="*/ 10626663 w 12193196"/>
              <a:gd name="connsiteY260" fmla="*/ 779773 h 4738686"/>
              <a:gd name="connsiteX261" fmla="*/ 10654381 w 12193196"/>
              <a:gd name="connsiteY261" fmla="*/ 848508 h 4738686"/>
              <a:gd name="connsiteX262" fmla="*/ 10748699 w 12193196"/>
              <a:gd name="connsiteY262" fmla="*/ 848508 h 4738686"/>
              <a:gd name="connsiteX263" fmla="*/ 10599240 w 12193196"/>
              <a:gd name="connsiteY263" fmla="*/ 528864 h 4738686"/>
              <a:gd name="connsiteX264" fmla="*/ 10495421 w 12193196"/>
              <a:gd name="connsiteY264" fmla="*/ 528864 h 4738686"/>
              <a:gd name="connsiteX265" fmla="*/ 11545848 w 12193196"/>
              <a:gd name="connsiteY265" fmla="*/ 528864 h 4738686"/>
              <a:gd name="connsiteX266" fmla="*/ 11545848 w 12193196"/>
              <a:gd name="connsiteY266" fmla="*/ 848508 h 4738686"/>
              <a:gd name="connsiteX267" fmla="*/ 11630666 w 12193196"/>
              <a:gd name="connsiteY267" fmla="*/ 848508 h 4738686"/>
              <a:gd name="connsiteX268" fmla="*/ 11630666 w 12193196"/>
              <a:gd name="connsiteY268" fmla="*/ 528864 h 4738686"/>
              <a:gd name="connsiteX269" fmla="*/ 9553515 w 12193196"/>
              <a:gd name="connsiteY269" fmla="*/ 528864 h 4738686"/>
              <a:gd name="connsiteX270" fmla="*/ 9553515 w 12193196"/>
              <a:gd name="connsiteY270" fmla="*/ 848508 h 4738686"/>
              <a:gd name="connsiteX271" fmla="*/ 9638235 w 12193196"/>
              <a:gd name="connsiteY271" fmla="*/ 848508 h 4738686"/>
              <a:gd name="connsiteX272" fmla="*/ 9638235 w 12193196"/>
              <a:gd name="connsiteY272" fmla="*/ 707844 h 4738686"/>
              <a:gd name="connsiteX273" fmla="*/ 9809143 w 12193196"/>
              <a:gd name="connsiteY273" fmla="*/ 707844 h 4738686"/>
              <a:gd name="connsiteX274" fmla="*/ 9809143 w 12193196"/>
              <a:gd name="connsiteY274" fmla="*/ 848508 h 4738686"/>
              <a:gd name="connsiteX275" fmla="*/ 9893863 w 12193196"/>
              <a:gd name="connsiteY275" fmla="*/ 848508 h 4738686"/>
              <a:gd name="connsiteX276" fmla="*/ 9893863 w 12193196"/>
              <a:gd name="connsiteY276" fmla="*/ 528864 h 4738686"/>
              <a:gd name="connsiteX277" fmla="*/ 9809143 w 12193196"/>
              <a:gd name="connsiteY277" fmla="*/ 528864 h 4738686"/>
              <a:gd name="connsiteX278" fmla="*/ 9809143 w 12193196"/>
              <a:gd name="connsiteY278" fmla="*/ 656678 h 4738686"/>
              <a:gd name="connsiteX279" fmla="*/ 9638235 w 12193196"/>
              <a:gd name="connsiteY279" fmla="*/ 656678 h 4738686"/>
              <a:gd name="connsiteX280" fmla="*/ 9638235 w 12193196"/>
              <a:gd name="connsiteY280" fmla="*/ 528864 h 4738686"/>
              <a:gd name="connsiteX281" fmla="*/ 9960953 w 12193196"/>
              <a:gd name="connsiteY281" fmla="*/ 528864 h 4738686"/>
              <a:gd name="connsiteX282" fmla="*/ 9960953 w 12193196"/>
              <a:gd name="connsiteY282" fmla="*/ 848508 h 4738686"/>
              <a:gd name="connsiteX283" fmla="*/ 10045673 w 12193196"/>
              <a:gd name="connsiteY283" fmla="*/ 848508 h 4738686"/>
              <a:gd name="connsiteX284" fmla="*/ 10045673 w 12193196"/>
              <a:gd name="connsiteY284" fmla="*/ 528864 h 4738686"/>
              <a:gd name="connsiteX285" fmla="*/ 10929795 w 12193196"/>
              <a:gd name="connsiteY285" fmla="*/ 520972 h 4738686"/>
              <a:gd name="connsiteX286" fmla="*/ 10828914 w 12193196"/>
              <a:gd name="connsiteY286" fmla="*/ 537904 h 4738686"/>
              <a:gd name="connsiteX287" fmla="*/ 10756241 w 12193196"/>
              <a:gd name="connsiteY287" fmla="*/ 598756 h 4738686"/>
              <a:gd name="connsiteX288" fmla="*/ 10734302 w 12193196"/>
              <a:gd name="connsiteY288" fmla="*/ 691800 h 4738686"/>
              <a:gd name="connsiteX289" fmla="*/ 10745663 w 12193196"/>
              <a:gd name="connsiteY289" fmla="*/ 759871 h 4738686"/>
              <a:gd name="connsiteX290" fmla="*/ 10745663 w 12193196"/>
              <a:gd name="connsiteY290" fmla="*/ 759880 h 4738686"/>
              <a:gd name="connsiteX291" fmla="*/ 10836847 w 12193196"/>
              <a:gd name="connsiteY291" fmla="*/ 843130 h 4738686"/>
              <a:gd name="connsiteX292" fmla="*/ 10922840 w 12193196"/>
              <a:gd name="connsiteY292" fmla="*/ 856372 h 4738686"/>
              <a:gd name="connsiteX293" fmla="*/ 11031654 w 12193196"/>
              <a:gd name="connsiteY293" fmla="*/ 834140 h 4738686"/>
              <a:gd name="connsiteX294" fmla="*/ 11090810 w 12193196"/>
              <a:gd name="connsiteY294" fmla="*/ 763621 h 4738686"/>
              <a:gd name="connsiteX295" fmla="*/ 11095120 w 12193196"/>
              <a:gd name="connsiteY295" fmla="*/ 733318 h 4738686"/>
              <a:gd name="connsiteX296" fmla="*/ 11005895 w 12193196"/>
              <a:gd name="connsiteY296" fmla="*/ 733318 h 4738686"/>
              <a:gd name="connsiteX297" fmla="*/ 10998941 w 12193196"/>
              <a:gd name="connsiteY297" fmla="*/ 767598 h 4738686"/>
              <a:gd name="connsiteX298" fmla="*/ 10961919 w 12193196"/>
              <a:gd name="connsiteY298" fmla="*/ 800790 h 4738686"/>
              <a:gd name="connsiteX299" fmla="*/ 10922840 w 12193196"/>
              <a:gd name="connsiteY299" fmla="*/ 806873 h 4738686"/>
              <a:gd name="connsiteX300" fmla="*/ 10877395 w 12193196"/>
              <a:gd name="connsiteY300" fmla="*/ 798460 h 4738686"/>
              <a:gd name="connsiteX301" fmla="*/ 10831167 w 12193196"/>
              <a:gd name="connsiteY301" fmla="*/ 748009 h 4738686"/>
              <a:gd name="connsiteX302" fmla="*/ 10823037 w 12193196"/>
              <a:gd name="connsiteY302" fmla="*/ 691820 h 4738686"/>
              <a:gd name="connsiteX303" fmla="*/ 10834595 w 12193196"/>
              <a:gd name="connsiteY303" fmla="*/ 624553 h 4738686"/>
              <a:gd name="connsiteX304" fmla="*/ 10880921 w 12193196"/>
              <a:gd name="connsiteY304" fmla="*/ 577649 h 4738686"/>
              <a:gd name="connsiteX305" fmla="*/ 10922840 w 12193196"/>
              <a:gd name="connsiteY305" fmla="*/ 570431 h 4738686"/>
              <a:gd name="connsiteX306" fmla="*/ 10959862 w 12193196"/>
              <a:gd name="connsiteY306" fmla="*/ 575964 h 4738686"/>
              <a:gd name="connsiteX307" fmla="*/ 10999627 w 12193196"/>
              <a:gd name="connsiteY307" fmla="*/ 612928 h 4738686"/>
              <a:gd name="connsiteX308" fmla="*/ 11004230 w 12193196"/>
              <a:gd name="connsiteY308" fmla="*/ 637521 h 4738686"/>
              <a:gd name="connsiteX309" fmla="*/ 11093063 w 12193196"/>
              <a:gd name="connsiteY309" fmla="*/ 637521 h 4738686"/>
              <a:gd name="connsiteX310" fmla="*/ 11090027 w 12193196"/>
              <a:gd name="connsiteY310" fmla="*/ 617276 h 4738686"/>
              <a:gd name="connsiteX311" fmla="*/ 11029597 w 12193196"/>
              <a:gd name="connsiteY311" fmla="*/ 543409 h 4738686"/>
              <a:gd name="connsiteX312" fmla="*/ 10929795 w 12193196"/>
              <a:gd name="connsiteY312" fmla="*/ 520972 h 4738686"/>
              <a:gd name="connsiteX313" fmla="*/ 0 w 12193196"/>
              <a:gd name="connsiteY313" fmla="*/ 0 h 4738686"/>
              <a:gd name="connsiteX314" fmla="*/ 12193196 w 12193196"/>
              <a:gd name="connsiteY314" fmla="*/ 0 h 4738686"/>
              <a:gd name="connsiteX315" fmla="*/ 12193196 w 12193196"/>
              <a:gd name="connsiteY315" fmla="*/ 4738686 h 4738686"/>
              <a:gd name="connsiteX316" fmla="*/ 0 w 12193196"/>
              <a:gd name="connsiteY316" fmla="*/ 4738686 h 4738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</a:cxnLst>
            <a:rect l="l" t="t" r="r" b="b"/>
            <a:pathLst>
              <a:path w="12193196" h="4738686">
                <a:moveTo>
                  <a:pt x="9943716" y="1018573"/>
                </a:moveTo>
                <a:lnTo>
                  <a:pt x="9943716" y="1018583"/>
                </a:lnTo>
                <a:cubicBezTo>
                  <a:pt x="9969768" y="1018583"/>
                  <a:pt x="9972804" y="1046888"/>
                  <a:pt x="9972804" y="1068171"/>
                </a:cubicBezTo>
                <a:cubicBezTo>
                  <a:pt x="9972804" y="1104410"/>
                  <a:pt x="9963402" y="1122040"/>
                  <a:pt x="9944107" y="1122040"/>
                </a:cubicBezTo>
                <a:cubicBezTo>
                  <a:pt x="9919230" y="1122040"/>
                  <a:pt x="9914039" y="1098847"/>
                  <a:pt x="9914039" y="1079406"/>
                </a:cubicBezTo>
                <a:lnTo>
                  <a:pt x="9914039" y="1067545"/>
                </a:lnTo>
                <a:cubicBezTo>
                  <a:pt x="9914039" y="1052854"/>
                  <a:pt x="9916977" y="1018573"/>
                  <a:pt x="9943716" y="1018573"/>
                </a:cubicBezTo>
                <a:close/>
                <a:moveTo>
                  <a:pt x="11408435" y="1012941"/>
                </a:moveTo>
                <a:cubicBezTo>
                  <a:pt x="11428807" y="1012941"/>
                  <a:pt x="11434096" y="1027633"/>
                  <a:pt x="11434684" y="1041128"/>
                </a:cubicBezTo>
                <a:lnTo>
                  <a:pt x="11379836" y="1041128"/>
                </a:lnTo>
                <a:cubicBezTo>
                  <a:pt x="11380159" y="1025534"/>
                  <a:pt x="11392843" y="1013033"/>
                  <a:pt x="11408435" y="1012941"/>
                </a:cubicBezTo>
                <a:close/>
                <a:moveTo>
                  <a:pt x="10350271" y="1012834"/>
                </a:moveTo>
                <a:cubicBezTo>
                  <a:pt x="10370741" y="1012834"/>
                  <a:pt x="10376030" y="1027584"/>
                  <a:pt x="10376618" y="1041021"/>
                </a:cubicBezTo>
                <a:lnTo>
                  <a:pt x="10321770" y="1041021"/>
                </a:lnTo>
                <a:cubicBezTo>
                  <a:pt x="10322093" y="1025467"/>
                  <a:pt x="10334714" y="1012983"/>
                  <a:pt x="10350271" y="1012834"/>
                </a:cubicBezTo>
                <a:close/>
                <a:moveTo>
                  <a:pt x="10912556" y="1012833"/>
                </a:moveTo>
                <a:cubicBezTo>
                  <a:pt x="10933026" y="1012833"/>
                  <a:pt x="10938217" y="1027584"/>
                  <a:pt x="10938805" y="1041021"/>
                </a:cubicBezTo>
                <a:lnTo>
                  <a:pt x="10883957" y="1041021"/>
                </a:lnTo>
                <a:cubicBezTo>
                  <a:pt x="10884290" y="1025434"/>
                  <a:pt x="10896964" y="1012941"/>
                  <a:pt x="10912556" y="1012833"/>
                </a:cubicBezTo>
                <a:close/>
                <a:moveTo>
                  <a:pt x="11605397" y="1000835"/>
                </a:moveTo>
                <a:lnTo>
                  <a:pt x="11568179" y="1043841"/>
                </a:lnTo>
                <a:lnTo>
                  <a:pt x="11535270" y="1000923"/>
                </a:lnTo>
                <a:lnTo>
                  <a:pt x="11476897" y="1000923"/>
                </a:lnTo>
                <a:lnTo>
                  <a:pt x="11476897" y="1011922"/>
                </a:lnTo>
                <a:lnTo>
                  <a:pt x="11479443" y="1012079"/>
                </a:lnTo>
                <a:cubicBezTo>
                  <a:pt x="11499326" y="1013430"/>
                  <a:pt x="11503831" y="1016976"/>
                  <a:pt x="11516074" y="1033136"/>
                </a:cubicBezTo>
                <a:lnTo>
                  <a:pt x="11539971" y="1064899"/>
                </a:lnTo>
                <a:lnTo>
                  <a:pt x="11500893" y="1110021"/>
                </a:lnTo>
                <a:lnTo>
                  <a:pt x="11541245" y="1110021"/>
                </a:lnTo>
                <a:lnTo>
                  <a:pt x="11558776" y="1089874"/>
                </a:lnTo>
                <a:lnTo>
                  <a:pt x="11596386" y="1139824"/>
                </a:lnTo>
                <a:lnTo>
                  <a:pt x="11641635" y="1139824"/>
                </a:lnTo>
                <a:lnTo>
                  <a:pt x="11569942" y="1046192"/>
                </a:lnTo>
                <a:lnTo>
                  <a:pt x="11606474" y="1046221"/>
                </a:lnTo>
                <a:lnTo>
                  <a:pt x="11645651" y="1000835"/>
                </a:lnTo>
                <a:close/>
                <a:moveTo>
                  <a:pt x="11409709" y="997750"/>
                </a:moveTo>
                <a:cubicBezTo>
                  <a:pt x="11362305" y="997750"/>
                  <a:pt x="11338211" y="1020600"/>
                  <a:pt x="11338211" y="1065684"/>
                </a:cubicBezTo>
                <a:cubicBezTo>
                  <a:pt x="11338211" y="1114066"/>
                  <a:pt x="11369259" y="1143008"/>
                  <a:pt x="11421168" y="1143008"/>
                </a:cubicBezTo>
                <a:cubicBezTo>
                  <a:pt x="11437024" y="1142934"/>
                  <a:pt x="11452764" y="1140308"/>
                  <a:pt x="11467788" y="1135231"/>
                </a:cubicBezTo>
                <a:lnTo>
                  <a:pt x="11470041" y="1134527"/>
                </a:lnTo>
                <a:lnTo>
                  <a:pt x="11470041" y="1116084"/>
                </a:lnTo>
                <a:lnTo>
                  <a:pt x="11466417" y="1117376"/>
                </a:lnTo>
                <a:cubicBezTo>
                  <a:pt x="11456779" y="1120531"/>
                  <a:pt x="11446691" y="1122122"/>
                  <a:pt x="11436545" y="1122088"/>
                </a:cubicBezTo>
                <a:cubicBezTo>
                  <a:pt x="11395801" y="1122088"/>
                  <a:pt x="11380620" y="1088181"/>
                  <a:pt x="11379738" y="1058034"/>
                </a:cubicBezTo>
                <a:lnTo>
                  <a:pt x="11472979" y="1058034"/>
                </a:lnTo>
                <a:lnTo>
                  <a:pt x="11472979" y="1055330"/>
                </a:lnTo>
                <a:cubicBezTo>
                  <a:pt x="11472979" y="1017133"/>
                  <a:pt x="11451726" y="997750"/>
                  <a:pt x="11409709" y="997750"/>
                </a:cubicBezTo>
                <a:close/>
                <a:moveTo>
                  <a:pt x="9781426" y="997723"/>
                </a:moveTo>
                <a:cubicBezTo>
                  <a:pt x="9745481" y="997723"/>
                  <a:pt x="9724032" y="1013119"/>
                  <a:pt x="9724032" y="1038926"/>
                </a:cubicBezTo>
                <a:cubicBezTo>
                  <a:pt x="9724032" y="1062100"/>
                  <a:pt x="9746265" y="1073031"/>
                  <a:pt x="9765951" y="1082648"/>
                </a:cubicBezTo>
                <a:cubicBezTo>
                  <a:pt x="9781230" y="1090161"/>
                  <a:pt x="9795725" y="1097203"/>
                  <a:pt x="9795725" y="1108378"/>
                </a:cubicBezTo>
                <a:cubicBezTo>
                  <a:pt x="9795725" y="1118877"/>
                  <a:pt x="9786421" y="1124901"/>
                  <a:pt x="9770261" y="1124901"/>
                </a:cubicBezTo>
                <a:cubicBezTo>
                  <a:pt x="9755255" y="1123971"/>
                  <a:pt x="9740791" y="1118948"/>
                  <a:pt x="9728439" y="1110376"/>
                </a:cubicBezTo>
                <a:lnTo>
                  <a:pt x="9724326" y="1107888"/>
                </a:lnTo>
                <a:lnTo>
                  <a:pt x="9724326" y="1137271"/>
                </a:lnTo>
                <a:lnTo>
                  <a:pt x="9727166" y="1137888"/>
                </a:lnTo>
                <a:cubicBezTo>
                  <a:pt x="9740855" y="1141241"/>
                  <a:pt x="9754894" y="1142947"/>
                  <a:pt x="9768987" y="1142971"/>
                </a:cubicBezTo>
                <a:cubicBezTo>
                  <a:pt x="9807576" y="1142971"/>
                  <a:pt x="9830593" y="1127134"/>
                  <a:pt x="9830593" y="1100631"/>
                </a:cubicBezTo>
                <a:cubicBezTo>
                  <a:pt x="9830593" y="1074372"/>
                  <a:pt x="9807381" y="1062982"/>
                  <a:pt x="9786911" y="1052913"/>
                </a:cubicBezTo>
                <a:lnTo>
                  <a:pt x="9786911" y="1052884"/>
                </a:lnTo>
                <a:cubicBezTo>
                  <a:pt x="9771828" y="1045527"/>
                  <a:pt x="9758899" y="1039172"/>
                  <a:pt x="9758899" y="1028779"/>
                </a:cubicBezTo>
                <a:cubicBezTo>
                  <a:pt x="9758899" y="1017026"/>
                  <a:pt x="9773003" y="1015714"/>
                  <a:pt x="9779075" y="1015714"/>
                </a:cubicBezTo>
                <a:cubicBezTo>
                  <a:pt x="9791882" y="1016511"/>
                  <a:pt x="9804235" y="1020760"/>
                  <a:pt x="9814824" y="1028006"/>
                </a:cubicBezTo>
                <a:lnTo>
                  <a:pt x="9820799" y="1031649"/>
                </a:lnTo>
                <a:lnTo>
                  <a:pt x="9820799" y="1003079"/>
                </a:lnTo>
                <a:lnTo>
                  <a:pt x="9816097" y="1002101"/>
                </a:lnTo>
                <a:cubicBezTo>
                  <a:pt x="9804739" y="999359"/>
                  <a:pt x="9793109" y="997890"/>
                  <a:pt x="9781426" y="997723"/>
                </a:cubicBezTo>
                <a:close/>
                <a:moveTo>
                  <a:pt x="10913830" y="997682"/>
                </a:moveTo>
                <a:cubicBezTo>
                  <a:pt x="10866426" y="997682"/>
                  <a:pt x="10842430" y="1020493"/>
                  <a:pt x="10842430" y="1065566"/>
                </a:cubicBezTo>
                <a:cubicBezTo>
                  <a:pt x="10842430" y="1114017"/>
                  <a:pt x="10873380" y="1142940"/>
                  <a:pt x="10925289" y="1142940"/>
                </a:cubicBezTo>
                <a:cubicBezTo>
                  <a:pt x="10941146" y="1142830"/>
                  <a:pt x="10956885" y="1140185"/>
                  <a:pt x="10971909" y="1135104"/>
                </a:cubicBezTo>
                <a:lnTo>
                  <a:pt x="10974162" y="1134399"/>
                </a:lnTo>
                <a:lnTo>
                  <a:pt x="10974162" y="1115976"/>
                </a:lnTo>
                <a:lnTo>
                  <a:pt x="10970538" y="1117289"/>
                </a:lnTo>
                <a:cubicBezTo>
                  <a:pt x="10960910" y="1120484"/>
                  <a:pt x="10950813" y="1122075"/>
                  <a:pt x="10940666" y="1122000"/>
                </a:cubicBezTo>
                <a:cubicBezTo>
                  <a:pt x="10899922" y="1122000"/>
                  <a:pt x="10884741" y="1088122"/>
                  <a:pt x="10883957" y="1057926"/>
                </a:cubicBezTo>
                <a:lnTo>
                  <a:pt x="10977100" y="1057926"/>
                </a:lnTo>
                <a:lnTo>
                  <a:pt x="10977100" y="1055242"/>
                </a:lnTo>
                <a:cubicBezTo>
                  <a:pt x="10977100" y="1017044"/>
                  <a:pt x="10955847" y="997682"/>
                  <a:pt x="10913830" y="997682"/>
                </a:cubicBezTo>
                <a:close/>
                <a:moveTo>
                  <a:pt x="10351643" y="997682"/>
                </a:moveTo>
                <a:cubicBezTo>
                  <a:pt x="10304239" y="997682"/>
                  <a:pt x="10280145" y="1020493"/>
                  <a:pt x="10280145" y="1065566"/>
                </a:cubicBezTo>
                <a:cubicBezTo>
                  <a:pt x="10280145" y="1114017"/>
                  <a:pt x="10311193" y="1142940"/>
                  <a:pt x="10363102" y="1142940"/>
                </a:cubicBezTo>
                <a:cubicBezTo>
                  <a:pt x="10378961" y="1142830"/>
                  <a:pt x="10394698" y="1140185"/>
                  <a:pt x="10409722" y="1135104"/>
                </a:cubicBezTo>
                <a:lnTo>
                  <a:pt x="10411975" y="1134399"/>
                </a:lnTo>
                <a:lnTo>
                  <a:pt x="10411975" y="1115976"/>
                </a:lnTo>
                <a:lnTo>
                  <a:pt x="10408351" y="1117289"/>
                </a:lnTo>
                <a:cubicBezTo>
                  <a:pt x="10398713" y="1120466"/>
                  <a:pt x="10388625" y="1122057"/>
                  <a:pt x="10378479" y="1122000"/>
                </a:cubicBezTo>
                <a:cubicBezTo>
                  <a:pt x="10337735" y="1122000"/>
                  <a:pt x="10322554" y="1088122"/>
                  <a:pt x="10321672" y="1057926"/>
                </a:cubicBezTo>
                <a:lnTo>
                  <a:pt x="10414913" y="1057926"/>
                </a:lnTo>
                <a:lnTo>
                  <a:pt x="10414913" y="1055242"/>
                </a:lnTo>
                <a:cubicBezTo>
                  <a:pt x="10414913" y="1017045"/>
                  <a:pt x="10393660" y="997682"/>
                  <a:pt x="10351643" y="997682"/>
                </a:cubicBezTo>
                <a:close/>
                <a:moveTo>
                  <a:pt x="10104241" y="997212"/>
                </a:moveTo>
                <a:lnTo>
                  <a:pt x="10101107" y="997702"/>
                </a:lnTo>
                <a:lnTo>
                  <a:pt x="10040873" y="1007280"/>
                </a:lnTo>
                <a:lnTo>
                  <a:pt x="10040873" y="1017937"/>
                </a:lnTo>
                <a:lnTo>
                  <a:pt x="10043517" y="1018005"/>
                </a:lnTo>
                <a:cubicBezTo>
                  <a:pt x="10062322" y="1018563"/>
                  <a:pt x="10066142" y="1022432"/>
                  <a:pt x="10066142" y="1040865"/>
                </a:cubicBezTo>
                <a:lnTo>
                  <a:pt x="10066142" y="1139787"/>
                </a:lnTo>
                <a:lnTo>
                  <a:pt x="10104241" y="1139787"/>
                </a:lnTo>
                <a:close/>
                <a:moveTo>
                  <a:pt x="9914333" y="997212"/>
                </a:moveTo>
                <a:lnTo>
                  <a:pt x="9911199" y="997703"/>
                </a:lnTo>
                <a:lnTo>
                  <a:pt x="9850377" y="1007280"/>
                </a:lnTo>
                <a:lnTo>
                  <a:pt x="9850377" y="1017937"/>
                </a:lnTo>
                <a:lnTo>
                  <a:pt x="9853021" y="1018005"/>
                </a:lnTo>
                <a:cubicBezTo>
                  <a:pt x="9872022" y="1018563"/>
                  <a:pt x="9875940" y="1022433"/>
                  <a:pt x="9875940" y="1040865"/>
                </a:cubicBezTo>
                <a:lnTo>
                  <a:pt x="9875940" y="1198327"/>
                </a:lnTo>
                <a:lnTo>
                  <a:pt x="9914039" y="1198327"/>
                </a:lnTo>
                <a:lnTo>
                  <a:pt x="9914039" y="1126594"/>
                </a:lnTo>
                <a:cubicBezTo>
                  <a:pt x="9923719" y="1138012"/>
                  <a:pt x="9938291" y="1144094"/>
                  <a:pt x="9953216" y="1142940"/>
                </a:cubicBezTo>
                <a:cubicBezTo>
                  <a:pt x="9993176" y="1142940"/>
                  <a:pt x="10014234" y="1117064"/>
                  <a:pt x="10014234" y="1068171"/>
                </a:cubicBezTo>
                <a:cubicBezTo>
                  <a:pt x="10014234" y="1023334"/>
                  <a:pt x="9992491" y="997654"/>
                  <a:pt x="9954587" y="997654"/>
                </a:cubicBezTo>
                <a:lnTo>
                  <a:pt x="9954587" y="997682"/>
                </a:lnTo>
                <a:cubicBezTo>
                  <a:pt x="9939027" y="998380"/>
                  <a:pt x="9924452" y="1005498"/>
                  <a:pt x="9914333" y="1017339"/>
                </a:cubicBezTo>
                <a:close/>
                <a:moveTo>
                  <a:pt x="9585052" y="997212"/>
                </a:moveTo>
                <a:lnTo>
                  <a:pt x="9581918" y="997703"/>
                </a:lnTo>
                <a:lnTo>
                  <a:pt x="9520704" y="1007280"/>
                </a:lnTo>
                <a:lnTo>
                  <a:pt x="9520704" y="1017986"/>
                </a:lnTo>
                <a:lnTo>
                  <a:pt x="9523348" y="1017986"/>
                </a:lnTo>
                <a:cubicBezTo>
                  <a:pt x="9542741" y="1018545"/>
                  <a:pt x="9546952" y="1022609"/>
                  <a:pt x="9546952" y="1040846"/>
                </a:cubicBezTo>
                <a:lnTo>
                  <a:pt x="9546952" y="1139767"/>
                </a:lnTo>
                <a:lnTo>
                  <a:pt x="9585052" y="1139767"/>
                </a:lnTo>
                <a:lnTo>
                  <a:pt x="9585052" y="1066967"/>
                </a:lnTo>
                <a:cubicBezTo>
                  <a:pt x="9585052" y="1047623"/>
                  <a:pt x="9603269" y="1022628"/>
                  <a:pt x="9622661" y="1022628"/>
                </a:cubicBezTo>
                <a:cubicBezTo>
                  <a:pt x="9640879" y="1022628"/>
                  <a:pt x="9641858" y="1037849"/>
                  <a:pt x="9641858" y="1062687"/>
                </a:cubicBezTo>
                <a:lnTo>
                  <a:pt x="9641858" y="1139767"/>
                </a:lnTo>
                <a:lnTo>
                  <a:pt x="9680055" y="1139767"/>
                </a:lnTo>
                <a:lnTo>
                  <a:pt x="9680055" y="1040866"/>
                </a:lnTo>
                <a:cubicBezTo>
                  <a:pt x="9680055" y="1013011"/>
                  <a:pt x="9664972" y="997682"/>
                  <a:pt x="9637647" y="997682"/>
                </a:cubicBezTo>
                <a:cubicBezTo>
                  <a:pt x="9616043" y="998193"/>
                  <a:pt x="9596200" y="1009718"/>
                  <a:pt x="9585052" y="1028230"/>
                </a:cubicBezTo>
                <a:close/>
                <a:moveTo>
                  <a:pt x="10204730" y="997212"/>
                </a:moveTo>
                <a:lnTo>
                  <a:pt x="10201596" y="997702"/>
                </a:lnTo>
                <a:lnTo>
                  <a:pt x="10140774" y="1007280"/>
                </a:lnTo>
                <a:lnTo>
                  <a:pt x="10140774" y="1017985"/>
                </a:lnTo>
                <a:lnTo>
                  <a:pt x="10143418" y="1017985"/>
                </a:lnTo>
                <a:cubicBezTo>
                  <a:pt x="10162713" y="1018544"/>
                  <a:pt x="10166631" y="1022412"/>
                  <a:pt x="10166631" y="1040845"/>
                </a:cubicBezTo>
                <a:lnTo>
                  <a:pt x="10166631" y="1139766"/>
                </a:lnTo>
                <a:lnTo>
                  <a:pt x="10204730" y="1139766"/>
                </a:lnTo>
                <a:lnTo>
                  <a:pt x="10204730" y="1068455"/>
                </a:lnTo>
                <a:cubicBezTo>
                  <a:pt x="10202786" y="1048275"/>
                  <a:pt x="10217569" y="1030340"/>
                  <a:pt x="10237749" y="1028396"/>
                </a:cubicBezTo>
                <a:cubicBezTo>
                  <a:pt x="10240025" y="1028176"/>
                  <a:pt x="10242316" y="1028170"/>
                  <a:pt x="10244592" y="1028377"/>
                </a:cubicBezTo>
                <a:cubicBezTo>
                  <a:pt x="10249094" y="1028635"/>
                  <a:pt x="10253541" y="1029494"/>
                  <a:pt x="10257815" y="1030933"/>
                </a:cubicBezTo>
                <a:lnTo>
                  <a:pt x="10263985" y="1032667"/>
                </a:lnTo>
                <a:lnTo>
                  <a:pt x="10263985" y="1029112"/>
                </a:lnTo>
                <a:lnTo>
                  <a:pt x="10263985" y="999484"/>
                </a:lnTo>
                <a:lnTo>
                  <a:pt x="10261732" y="999141"/>
                </a:lnTo>
                <a:cubicBezTo>
                  <a:pt x="10255737" y="998203"/>
                  <a:pt x="10249680" y="997715"/>
                  <a:pt x="10243613" y="997682"/>
                </a:cubicBezTo>
                <a:cubicBezTo>
                  <a:pt x="10226159" y="998411"/>
                  <a:pt x="10210840" y="1009523"/>
                  <a:pt x="10204730" y="1025889"/>
                </a:cubicBezTo>
                <a:close/>
                <a:moveTo>
                  <a:pt x="10548800" y="957712"/>
                </a:moveTo>
                <a:lnTo>
                  <a:pt x="10548800" y="1000943"/>
                </a:lnTo>
                <a:lnTo>
                  <a:pt x="10523237" y="1000943"/>
                </a:lnTo>
                <a:lnTo>
                  <a:pt x="10523237" y="1017828"/>
                </a:lnTo>
                <a:lnTo>
                  <a:pt x="10548800" y="1017828"/>
                </a:lnTo>
                <a:lnTo>
                  <a:pt x="10548800" y="1103283"/>
                </a:lnTo>
                <a:cubicBezTo>
                  <a:pt x="10548800" y="1140080"/>
                  <a:pt x="10572502" y="1143028"/>
                  <a:pt x="10601199" y="1143028"/>
                </a:cubicBezTo>
                <a:cubicBezTo>
                  <a:pt x="10608721" y="1142852"/>
                  <a:pt x="10616223" y="1142072"/>
                  <a:pt x="10623627" y="1140697"/>
                </a:cubicBezTo>
                <a:lnTo>
                  <a:pt x="10625880" y="1140364"/>
                </a:lnTo>
                <a:lnTo>
                  <a:pt x="10625880" y="1123146"/>
                </a:lnTo>
                <a:lnTo>
                  <a:pt x="10622648" y="1123880"/>
                </a:lnTo>
                <a:cubicBezTo>
                  <a:pt x="10618848" y="1124646"/>
                  <a:pt x="10614969" y="1125014"/>
                  <a:pt x="10611091" y="1124977"/>
                </a:cubicBezTo>
                <a:cubicBezTo>
                  <a:pt x="10588173" y="1124977"/>
                  <a:pt x="10586899" y="1118219"/>
                  <a:pt x="10586899" y="1098690"/>
                </a:cubicBezTo>
                <a:lnTo>
                  <a:pt x="10586899" y="1017809"/>
                </a:lnTo>
                <a:lnTo>
                  <a:pt x="10629798" y="1017809"/>
                </a:lnTo>
                <a:lnTo>
                  <a:pt x="10629798" y="1000923"/>
                </a:lnTo>
                <a:lnTo>
                  <a:pt x="10586899" y="1000923"/>
                </a:lnTo>
                <a:lnTo>
                  <a:pt x="10586899" y="957712"/>
                </a:lnTo>
                <a:close/>
                <a:moveTo>
                  <a:pt x="11683359" y="957623"/>
                </a:moveTo>
                <a:lnTo>
                  <a:pt x="11683359" y="1000923"/>
                </a:lnTo>
                <a:lnTo>
                  <a:pt x="11657796" y="1000923"/>
                </a:lnTo>
                <a:lnTo>
                  <a:pt x="11657796" y="1017808"/>
                </a:lnTo>
                <a:lnTo>
                  <a:pt x="11683359" y="1017808"/>
                </a:lnTo>
                <a:lnTo>
                  <a:pt x="11683359" y="1103263"/>
                </a:lnTo>
                <a:cubicBezTo>
                  <a:pt x="11683359" y="1140059"/>
                  <a:pt x="11707061" y="1143007"/>
                  <a:pt x="11735758" y="1143007"/>
                </a:cubicBezTo>
                <a:cubicBezTo>
                  <a:pt x="11743250" y="1142836"/>
                  <a:pt x="11750723" y="1142056"/>
                  <a:pt x="11758089" y="1140676"/>
                </a:cubicBezTo>
                <a:lnTo>
                  <a:pt x="11760439" y="1140343"/>
                </a:lnTo>
                <a:lnTo>
                  <a:pt x="11760439" y="1123145"/>
                </a:lnTo>
                <a:lnTo>
                  <a:pt x="11757109" y="1123879"/>
                </a:lnTo>
                <a:cubicBezTo>
                  <a:pt x="11753338" y="1124651"/>
                  <a:pt x="11749499" y="1125018"/>
                  <a:pt x="11745650" y="1124976"/>
                </a:cubicBezTo>
                <a:cubicBezTo>
                  <a:pt x="11722634" y="1124976"/>
                  <a:pt x="11721458" y="1118218"/>
                  <a:pt x="11721458" y="1098689"/>
                </a:cubicBezTo>
                <a:lnTo>
                  <a:pt x="11721458" y="1017808"/>
                </a:lnTo>
                <a:lnTo>
                  <a:pt x="11764357" y="1017808"/>
                </a:lnTo>
                <a:lnTo>
                  <a:pt x="11764357" y="1000923"/>
                </a:lnTo>
                <a:lnTo>
                  <a:pt x="11721458" y="1000923"/>
                </a:lnTo>
                <a:lnTo>
                  <a:pt x="11721458" y="957623"/>
                </a:lnTo>
                <a:close/>
                <a:moveTo>
                  <a:pt x="11073573" y="941062"/>
                </a:moveTo>
                <a:lnTo>
                  <a:pt x="11073573" y="952413"/>
                </a:lnTo>
                <a:lnTo>
                  <a:pt x="11081212" y="953686"/>
                </a:lnTo>
                <a:cubicBezTo>
                  <a:pt x="11104425" y="957603"/>
                  <a:pt x="11106384" y="957927"/>
                  <a:pt x="11106384" y="980541"/>
                </a:cubicBezTo>
                <a:lnTo>
                  <a:pt x="11106384" y="1139765"/>
                </a:lnTo>
                <a:lnTo>
                  <a:pt x="11147323" y="1139765"/>
                </a:lnTo>
                <a:lnTo>
                  <a:pt x="11147323" y="981708"/>
                </a:lnTo>
                <a:lnTo>
                  <a:pt x="11251827" y="1139765"/>
                </a:lnTo>
                <a:lnTo>
                  <a:pt x="11302267" y="1139765"/>
                </a:lnTo>
                <a:lnTo>
                  <a:pt x="11302267" y="941062"/>
                </a:lnTo>
                <a:lnTo>
                  <a:pt x="11299623" y="941062"/>
                </a:lnTo>
                <a:lnTo>
                  <a:pt x="11261328" y="941062"/>
                </a:lnTo>
                <a:lnTo>
                  <a:pt x="11261328" y="1091990"/>
                </a:lnTo>
                <a:cubicBezTo>
                  <a:pt x="11253492" y="1080022"/>
                  <a:pt x="11161721" y="941062"/>
                  <a:pt x="11161721" y="941062"/>
                </a:cubicBezTo>
                <a:close/>
                <a:moveTo>
                  <a:pt x="10085829" y="939103"/>
                </a:moveTo>
                <a:cubicBezTo>
                  <a:pt x="10074421" y="937731"/>
                  <a:pt x="10064062" y="945866"/>
                  <a:pt x="10062691" y="957273"/>
                </a:cubicBezTo>
                <a:cubicBezTo>
                  <a:pt x="10061319" y="968679"/>
                  <a:pt x="10069454" y="979039"/>
                  <a:pt x="10080861" y="980411"/>
                </a:cubicBezTo>
                <a:cubicBezTo>
                  <a:pt x="10082413" y="980598"/>
                  <a:pt x="10083981" y="980609"/>
                  <a:pt x="10085535" y="980444"/>
                </a:cubicBezTo>
                <a:lnTo>
                  <a:pt x="10085535" y="980415"/>
                </a:lnTo>
                <a:cubicBezTo>
                  <a:pt x="10097883" y="981196"/>
                  <a:pt x="10108570" y="971918"/>
                  <a:pt x="10109531" y="959583"/>
                </a:cubicBezTo>
                <a:cubicBezTo>
                  <a:pt x="10108536" y="947436"/>
                  <a:pt x="10097992" y="938325"/>
                  <a:pt x="10085829" y="939103"/>
                </a:cubicBezTo>
                <a:close/>
                <a:moveTo>
                  <a:pt x="9480646" y="937655"/>
                </a:moveTo>
                <a:lnTo>
                  <a:pt x="9477708" y="937919"/>
                </a:lnTo>
                <a:lnTo>
                  <a:pt x="9402293" y="944775"/>
                </a:lnTo>
                <a:lnTo>
                  <a:pt x="9402293" y="955931"/>
                </a:lnTo>
                <a:lnTo>
                  <a:pt x="9404644" y="956225"/>
                </a:lnTo>
                <a:cubicBezTo>
                  <a:pt x="9435006" y="959800"/>
                  <a:pt x="9435006" y="959800"/>
                  <a:pt x="9435006" y="981690"/>
                </a:cubicBezTo>
                <a:lnTo>
                  <a:pt x="9435006" y="1139748"/>
                </a:lnTo>
                <a:lnTo>
                  <a:pt x="9480646" y="1139748"/>
                </a:lnTo>
                <a:close/>
                <a:moveTo>
                  <a:pt x="10710404" y="932962"/>
                </a:moveTo>
                <a:lnTo>
                  <a:pt x="10707368" y="933364"/>
                </a:lnTo>
                <a:lnTo>
                  <a:pt x="10646644" y="940827"/>
                </a:lnTo>
                <a:lnTo>
                  <a:pt x="10646644" y="951600"/>
                </a:lnTo>
                <a:lnTo>
                  <a:pt x="10649288" y="951688"/>
                </a:lnTo>
                <a:cubicBezTo>
                  <a:pt x="10668191" y="952531"/>
                  <a:pt x="10672207" y="956683"/>
                  <a:pt x="10672207" y="975146"/>
                </a:cubicBezTo>
                <a:lnTo>
                  <a:pt x="10672207" y="1139766"/>
                </a:lnTo>
                <a:lnTo>
                  <a:pt x="10710404" y="1139766"/>
                </a:lnTo>
                <a:lnTo>
                  <a:pt x="10710404" y="1068719"/>
                </a:lnTo>
                <a:cubicBezTo>
                  <a:pt x="10710404" y="1042755"/>
                  <a:pt x="10729699" y="1022628"/>
                  <a:pt x="10746251" y="1022628"/>
                </a:cubicBezTo>
                <a:cubicBezTo>
                  <a:pt x="10767504" y="1022628"/>
                  <a:pt x="10767504" y="1038553"/>
                  <a:pt x="10767504" y="1052657"/>
                </a:cubicBezTo>
                <a:lnTo>
                  <a:pt x="10767504" y="1139766"/>
                </a:lnTo>
                <a:lnTo>
                  <a:pt x="10805604" y="1139766"/>
                </a:lnTo>
                <a:lnTo>
                  <a:pt x="10805604" y="1048347"/>
                </a:lnTo>
                <a:cubicBezTo>
                  <a:pt x="10805604" y="1033157"/>
                  <a:pt x="10805604" y="997682"/>
                  <a:pt x="10762705" y="997682"/>
                </a:cubicBezTo>
                <a:cubicBezTo>
                  <a:pt x="10741089" y="997754"/>
                  <a:pt x="10721158" y="1009345"/>
                  <a:pt x="10710404" y="1028093"/>
                </a:cubicBezTo>
                <a:close/>
                <a:moveTo>
                  <a:pt x="11691292" y="901218"/>
                </a:moveTo>
                <a:lnTo>
                  <a:pt x="11642419" y="957691"/>
                </a:lnTo>
                <a:lnTo>
                  <a:pt x="11682771" y="957691"/>
                </a:lnTo>
                <a:lnTo>
                  <a:pt x="11731644" y="901218"/>
                </a:lnTo>
                <a:close/>
                <a:moveTo>
                  <a:pt x="10547331" y="583241"/>
                </a:moveTo>
                <a:lnTo>
                  <a:pt x="10606292" y="728608"/>
                </a:lnTo>
                <a:lnTo>
                  <a:pt x="10488370" y="728608"/>
                </a:lnTo>
                <a:close/>
                <a:moveTo>
                  <a:pt x="11138508" y="528864"/>
                </a:moveTo>
                <a:cubicBezTo>
                  <a:pt x="11138998" y="528864"/>
                  <a:pt x="11138508" y="848508"/>
                  <a:pt x="11138508" y="848508"/>
                </a:cubicBezTo>
                <a:lnTo>
                  <a:pt x="11223130" y="848508"/>
                </a:lnTo>
                <a:cubicBezTo>
                  <a:pt x="11223130" y="848596"/>
                  <a:pt x="11223228" y="708373"/>
                  <a:pt x="11223130" y="707844"/>
                </a:cubicBezTo>
                <a:cubicBezTo>
                  <a:pt x="11223130" y="707844"/>
                  <a:pt x="11394136" y="708236"/>
                  <a:pt x="11394136" y="707844"/>
                </a:cubicBezTo>
                <a:lnTo>
                  <a:pt x="11394136" y="848508"/>
                </a:lnTo>
                <a:cubicBezTo>
                  <a:pt x="11394234" y="848508"/>
                  <a:pt x="11478758" y="848508"/>
                  <a:pt x="11478856" y="848508"/>
                </a:cubicBezTo>
                <a:cubicBezTo>
                  <a:pt x="11479150" y="848156"/>
                  <a:pt x="11478856" y="528864"/>
                  <a:pt x="11478856" y="528864"/>
                </a:cubicBezTo>
                <a:cubicBezTo>
                  <a:pt x="11477974" y="528864"/>
                  <a:pt x="11394038" y="528864"/>
                  <a:pt x="11394136" y="528864"/>
                </a:cubicBezTo>
                <a:cubicBezTo>
                  <a:pt x="11394038" y="528835"/>
                  <a:pt x="11394136" y="657149"/>
                  <a:pt x="11394136" y="656678"/>
                </a:cubicBezTo>
                <a:lnTo>
                  <a:pt x="11223130" y="656678"/>
                </a:lnTo>
                <a:lnTo>
                  <a:pt x="11223130" y="528864"/>
                </a:lnTo>
                <a:close/>
                <a:moveTo>
                  <a:pt x="10075937" y="528864"/>
                </a:moveTo>
                <a:cubicBezTo>
                  <a:pt x="10076133" y="528933"/>
                  <a:pt x="10075937" y="583241"/>
                  <a:pt x="10075937" y="583241"/>
                </a:cubicBezTo>
                <a:lnTo>
                  <a:pt x="10205416" y="583241"/>
                </a:lnTo>
                <a:lnTo>
                  <a:pt x="10205416" y="848508"/>
                </a:lnTo>
                <a:lnTo>
                  <a:pt x="10290038" y="848508"/>
                </a:lnTo>
                <a:lnTo>
                  <a:pt x="10290038" y="583241"/>
                </a:lnTo>
                <a:lnTo>
                  <a:pt x="10419517" y="583241"/>
                </a:lnTo>
                <a:lnTo>
                  <a:pt x="10419517" y="528864"/>
                </a:lnTo>
                <a:cubicBezTo>
                  <a:pt x="10419517" y="528864"/>
                  <a:pt x="10076133" y="528933"/>
                  <a:pt x="10075937" y="528864"/>
                </a:cubicBezTo>
                <a:close/>
                <a:moveTo>
                  <a:pt x="10495421" y="528864"/>
                </a:moveTo>
                <a:lnTo>
                  <a:pt x="10346060" y="848508"/>
                </a:lnTo>
                <a:cubicBezTo>
                  <a:pt x="10346060" y="848508"/>
                  <a:pt x="10440378" y="848596"/>
                  <a:pt x="10440280" y="848508"/>
                </a:cubicBezTo>
                <a:cubicBezTo>
                  <a:pt x="10440672" y="848596"/>
                  <a:pt x="10467998" y="779773"/>
                  <a:pt x="10467998" y="779773"/>
                </a:cubicBezTo>
                <a:lnTo>
                  <a:pt x="10626663" y="779773"/>
                </a:lnTo>
                <a:cubicBezTo>
                  <a:pt x="10626663" y="779773"/>
                  <a:pt x="10654479" y="848508"/>
                  <a:pt x="10654381" y="848508"/>
                </a:cubicBezTo>
                <a:cubicBezTo>
                  <a:pt x="10653793" y="848508"/>
                  <a:pt x="10748895" y="848508"/>
                  <a:pt x="10748699" y="848508"/>
                </a:cubicBezTo>
                <a:lnTo>
                  <a:pt x="10599240" y="528864"/>
                </a:lnTo>
                <a:cubicBezTo>
                  <a:pt x="10599240" y="528864"/>
                  <a:pt x="10495421" y="529060"/>
                  <a:pt x="10495421" y="528864"/>
                </a:cubicBezTo>
                <a:close/>
                <a:moveTo>
                  <a:pt x="11545848" y="528864"/>
                </a:moveTo>
                <a:lnTo>
                  <a:pt x="11545848" y="848508"/>
                </a:lnTo>
                <a:lnTo>
                  <a:pt x="11630666" y="848508"/>
                </a:lnTo>
                <a:lnTo>
                  <a:pt x="11630666" y="528864"/>
                </a:lnTo>
                <a:close/>
                <a:moveTo>
                  <a:pt x="9553515" y="528864"/>
                </a:moveTo>
                <a:cubicBezTo>
                  <a:pt x="9554005" y="528864"/>
                  <a:pt x="9553515" y="848508"/>
                  <a:pt x="9553515" y="848508"/>
                </a:cubicBezTo>
                <a:lnTo>
                  <a:pt x="9638235" y="848508"/>
                </a:lnTo>
                <a:cubicBezTo>
                  <a:pt x="9638137" y="848596"/>
                  <a:pt x="9638333" y="708372"/>
                  <a:pt x="9638235" y="707844"/>
                </a:cubicBezTo>
                <a:cubicBezTo>
                  <a:pt x="9638235" y="707844"/>
                  <a:pt x="9809143" y="708235"/>
                  <a:pt x="9809143" y="707844"/>
                </a:cubicBezTo>
                <a:lnTo>
                  <a:pt x="9809143" y="848508"/>
                </a:lnTo>
                <a:cubicBezTo>
                  <a:pt x="9809241" y="848508"/>
                  <a:pt x="9893765" y="848508"/>
                  <a:pt x="9893863" y="848508"/>
                </a:cubicBezTo>
                <a:cubicBezTo>
                  <a:pt x="9894157" y="848156"/>
                  <a:pt x="9893863" y="528864"/>
                  <a:pt x="9893863" y="528864"/>
                </a:cubicBezTo>
                <a:cubicBezTo>
                  <a:pt x="9892982" y="528864"/>
                  <a:pt x="9809045" y="528864"/>
                  <a:pt x="9809143" y="528864"/>
                </a:cubicBezTo>
                <a:cubicBezTo>
                  <a:pt x="9809045" y="528835"/>
                  <a:pt x="9809143" y="657149"/>
                  <a:pt x="9809143" y="656678"/>
                </a:cubicBezTo>
                <a:lnTo>
                  <a:pt x="9638235" y="656678"/>
                </a:lnTo>
                <a:cubicBezTo>
                  <a:pt x="9638137" y="657589"/>
                  <a:pt x="9638235" y="528864"/>
                  <a:pt x="9638235" y="528864"/>
                </a:cubicBezTo>
                <a:close/>
                <a:moveTo>
                  <a:pt x="9960953" y="528864"/>
                </a:moveTo>
                <a:lnTo>
                  <a:pt x="9960953" y="848508"/>
                </a:lnTo>
                <a:lnTo>
                  <a:pt x="10045673" y="848508"/>
                </a:lnTo>
                <a:lnTo>
                  <a:pt x="10045673" y="528864"/>
                </a:lnTo>
                <a:close/>
                <a:moveTo>
                  <a:pt x="10929795" y="520972"/>
                </a:moveTo>
                <a:cubicBezTo>
                  <a:pt x="10895705" y="520037"/>
                  <a:pt x="10861435" y="525663"/>
                  <a:pt x="10828914" y="537904"/>
                </a:cubicBezTo>
                <a:cubicBezTo>
                  <a:pt x="10798464" y="549314"/>
                  <a:pt x="10772823" y="570783"/>
                  <a:pt x="10756241" y="598756"/>
                </a:cubicBezTo>
                <a:cubicBezTo>
                  <a:pt x="10740717" y="627243"/>
                  <a:pt x="10733146" y="659380"/>
                  <a:pt x="10734302" y="691800"/>
                </a:cubicBezTo>
                <a:cubicBezTo>
                  <a:pt x="10734233" y="714967"/>
                  <a:pt x="10738073" y="737980"/>
                  <a:pt x="10745663" y="759871"/>
                </a:cubicBezTo>
                <a:lnTo>
                  <a:pt x="10745663" y="759880"/>
                </a:lnTo>
                <a:cubicBezTo>
                  <a:pt x="10761403" y="800341"/>
                  <a:pt x="10795124" y="831133"/>
                  <a:pt x="10836847" y="843130"/>
                </a:cubicBezTo>
                <a:cubicBezTo>
                  <a:pt x="10864672" y="851890"/>
                  <a:pt x="10893673" y="856355"/>
                  <a:pt x="10922840" y="856372"/>
                </a:cubicBezTo>
                <a:cubicBezTo>
                  <a:pt x="10960234" y="856306"/>
                  <a:pt x="10997237" y="848747"/>
                  <a:pt x="11031654" y="834140"/>
                </a:cubicBezTo>
                <a:cubicBezTo>
                  <a:pt x="11061389" y="821282"/>
                  <a:pt x="11083318" y="795144"/>
                  <a:pt x="11090810" y="763621"/>
                </a:cubicBezTo>
                <a:cubicBezTo>
                  <a:pt x="11093210" y="753680"/>
                  <a:pt x="11094650" y="743533"/>
                  <a:pt x="11095120" y="733318"/>
                </a:cubicBezTo>
                <a:lnTo>
                  <a:pt x="11005895" y="733318"/>
                </a:lnTo>
                <a:cubicBezTo>
                  <a:pt x="11005993" y="745104"/>
                  <a:pt x="11003623" y="756780"/>
                  <a:pt x="10998941" y="767598"/>
                </a:cubicBezTo>
                <a:cubicBezTo>
                  <a:pt x="10991918" y="783450"/>
                  <a:pt x="10978442" y="795534"/>
                  <a:pt x="10961919" y="800790"/>
                </a:cubicBezTo>
                <a:cubicBezTo>
                  <a:pt x="10949294" y="804866"/>
                  <a:pt x="10936101" y="806919"/>
                  <a:pt x="10922840" y="806873"/>
                </a:cubicBezTo>
                <a:cubicBezTo>
                  <a:pt x="10907307" y="806833"/>
                  <a:pt x="10891910" y="803983"/>
                  <a:pt x="10877395" y="798460"/>
                </a:cubicBezTo>
                <a:cubicBezTo>
                  <a:pt x="10854849" y="789938"/>
                  <a:pt x="10837689" y="771214"/>
                  <a:pt x="10831167" y="748009"/>
                </a:cubicBezTo>
                <a:cubicBezTo>
                  <a:pt x="10825907" y="729738"/>
                  <a:pt x="10823175" y="710832"/>
                  <a:pt x="10823037" y="691820"/>
                </a:cubicBezTo>
                <a:cubicBezTo>
                  <a:pt x="10823086" y="668907"/>
                  <a:pt x="10826994" y="646167"/>
                  <a:pt x="10834595" y="624553"/>
                </a:cubicBezTo>
                <a:cubicBezTo>
                  <a:pt x="10842165" y="602725"/>
                  <a:pt x="10859188" y="585486"/>
                  <a:pt x="10880921" y="577649"/>
                </a:cubicBezTo>
                <a:cubicBezTo>
                  <a:pt x="10894378" y="572858"/>
                  <a:pt x="10908560" y="570417"/>
                  <a:pt x="10922840" y="570431"/>
                </a:cubicBezTo>
                <a:cubicBezTo>
                  <a:pt x="10935387" y="570428"/>
                  <a:pt x="10947864" y="572293"/>
                  <a:pt x="10959862" y="575964"/>
                </a:cubicBezTo>
                <a:cubicBezTo>
                  <a:pt x="10978118" y="581479"/>
                  <a:pt x="10992800" y="595124"/>
                  <a:pt x="10999627" y="612928"/>
                </a:cubicBezTo>
                <a:cubicBezTo>
                  <a:pt x="11002506" y="620816"/>
                  <a:pt x="11004063" y="629125"/>
                  <a:pt x="11004230" y="637521"/>
                </a:cubicBezTo>
                <a:lnTo>
                  <a:pt x="11093063" y="637521"/>
                </a:lnTo>
                <a:cubicBezTo>
                  <a:pt x="11092456" y="630719"/>
                  <a:pt x="11091437" y="623958"/>
                  <a:pt x="11090027" y="617276"/>
                </a:cubicBezTo>
                <a:cubicBezTo>
                  <a:pt x="11083112" y="584284"/>
                  <a:pt x="11060566" y="556724"/>
                  <a:pt x="11029597" y="543409"/>
                </a:cubicBezTo>
                <a:cubicBezTo>
                  <a:pt x="10997795" y="529404"/>
                  <a:pt x="10963885" y="521907"/>
                  <a:pt x="10929795" y="520972"/>
                </a:cubicBezTo>
                <a:close/>
                <a:moveTo>
                  <a:pt x="0" y="0"/>
                </a:moveTo>
                <a:lnTo>
                  <a:pt x="12193196" y="0"/>
                </a:lnTo>
                <a:lnTo>
                  <a:pt x="12193196" y="4738686"/>
                </a:lnTo>
                <a:lnTo>
                  <a:pt x="0" y="4738686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wrap="square" tIns="684000" anchor="ctr">
            <a:noAutofit/>
          </a:bodyPr>
          <a:lstStyle>
            <a:lvl1pPr algn="ctr">
              <a:defRPr sz="1800"/>
            </a:lvl1pPr>
          </a:lstStyle>
          <a:p>
            <a:r>
              <a:rPr lang="en-GB" dirty="0"/>
              <a:t> </a:t>
            </a:r>
          </a:p>
        </p:txBody>
      </p:sp>
      <p:grpSp>
        <p:nvGrpSpPr>
          <p:cNvPr id="16" name="グループ化 39">
            <a:extLst>
              <a:ext uri="{FF2B5EF4-FFF2-40B4-BE49-F238E27FC236}">
                <a16:creationId xmlns:a16="http://schemas.microsoft.com/office/drawing/2014/main" xmlns="" id="{6809A62B-C3B4-4040-AF1D-DC2BF3BDB821}"/>
              </a:ext>
            </a:extLst>
          </p:cNvPr>
          <p:cNvGrpSpPr/>
          <p:nvPr/>
        </p:nvGrpSpPr>
        <p:grpSpPr bwMode="gray">
          <a:xfrm>
            <a:off x="0" y="4739176"/>
            <a:ext cx="12192000" cy="129984"/>
            <a:chOff x="324487" y="2057426"/>
            <a:chExt cx="8495663" cy="97488"/>
          </a:xfrm>
        </p:grpSpPr>
        <p:sp>
          <p:nvSpPr>
            <p:cNvPr id="17" name="正方形/長方形 11">
              <a:extLst>
                <a:ext uri="{FF2B5EF4-FFF2-40B4-BE49-F238E27FC236}">
                  <a16:creationId xmlns:a16="http://schemas.microsoft.com/office/drawing/2014/main" xmlns="" id="{DE7BDB25-5A30-4A34-ABFC-B07249D3BFF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24489" y="2057426"/>
              <a:ext cx="8495661" cy="97488"/>
            </a:xfrm>
            <a:prstGeom prst="rect">
              <a:avLst/>
            </a:prstGeom>
            <a:solidFill>
              <a:srgbClr val="7373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>
                <a:defRPr/>
              </a:pPr>
              <a:endParaRPr lang="en-GB" altLang="ja-JP" sz="4623" dirty="0"/>
            </a:p>
          </p:txBody>
        </p:sp>
        <p:grpSp>
          <p:nvGrpSpPr>
            <p:cNvPr id="18" name="グループ化 16">
              <a:extLst>
                <a:ext uri="{FF2B5EF4-FFF2-40B4-BE49-F238E27FC236}">
                  <a16:creationId xmlns:a16="http://schemas.microsoft.com/office/drawing/2014/main" xmlns="" id="{74096499-38D4-462C-8826-1DB8FC711C1A}"/>
                </a:ext>
              </a:extLst>
            </p:cNvPr>
            <p:cNvGrpSpPr/>
            <p:nvPr/>
          </p:nvGrpSpPr>
          <p:grpSpPr bwMode="gray">
            <a:xfrm>
              <a:off x="324487" y="2057426"/>
              <a:ext cx="1938812" cy="97488"/>
              <a:chOff x="312738" y="2747963"/>
              <a:chExt cx="1970087" cy="109537"/>
            </a:xfrm>
          </p:grpSpPr>
          <p:sp>
            <p:nvSpPr>
              <p:cNvPr id="19" name="正方形/長方形 42">
                <a:extLst>
                  <a:ext uri="{FF2B5EF4-FFF2-40B4-BE49-F238E27FC236}">
                    <a16:creationId xmlns:a16="http://schemas.microsoft.com/office/drawing/2014/main" xmlns="" id="{177D7250-BABC-4571-82D6-043E996D9DB0}"/>
                  </a:ext>
                </a:extLst>
              </p:cNvPr>
              <p:cNvSpPr/>
              <p:nvPr/>
            </p:nvSpPr>
            <p:spPr bwMode="gray">
              <a:xfrm>
                <a:off x="312738" y="2747963"/>
                <a:ext cx="1970087" cy="109537"/>
              </a:xfrm>
              <a:prstGeom prst="rect">
                <a:avLst/>
              </a:prstGeom>
              <a:solidFill>
                <a:srgbClr val="FF0026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en-GB" altLang="ja-JP" sz="2400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20" name="正方形/長方形 43">
                <a:extLst>
                  <a:ext uri="{FF2B5EF4-FFF2-40B4-BE49-F238E27FC236}">
                    <a16:creationId xmlns:a16="http://schemas.microsoft.com/office/drawing/2014/main" xmlns="" id="{BFDA5A74-11DA-4E7F-9508-F12960D3B74E}"/>
                  </a:ext>
                </a:extLst>
              </p:cNvPr>
              <p:cNvSpPr/>
              <p:nvPr/>
            </p:nvSpPr>
            <p:spPr bwMode="gray">
              <a:xfrm>
                <a:off x="312738" y="2747963"/>
                <a:ext cx="985837" cy="109537"/>
              </a:xfrm>
              <a:prstGeom prst="rect">
                <a:avLst/>
              </a:prstGeom>
              <a:solidFill>
                <a:srgbClr val="B3B3B3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en-GB" altLang="ja-JP" sz="2400" kern="0" dirty="0">
                  <a:solidFill>
                    <a:sysClr val="windowText" lastClr="000000"/>
                  </a:solidFill>
                </a:endParaRPr>
              </a:p>
            </p:txBody>
          </p:sp>
        </p:grpSp>
      </p:grpSp>
      <p:pic>
        <p:nvPicPr>
          <p:cNvPr id="23" name="Confidential" hidden="1">
            <a:extLst>
              <a:ext uri="{FF2B5EF4-FFF2-40B4-BE49-F238E27FC236}">
                <a16:creationId xmlns:a16="http://schemas.microsoft.com/office/drawing/2014/main" xmlns="" id="{F228D1DE-D36C-4E9B-BD91-2341FC0B7E0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277200" y="345600"/>
            <a:ext cx="1671890" cy="266400"/>
          </a:xfrm>
          <a:prstGeom prst="rect">
            <a:avLst/>
          </a:prstGeom>
        </p:spPr>
      </p:pic>
      <p:pic>
        <p:nvPicPr>
          <p:cNvPr id="24" name="Public">
            <a:extLst>
              <a:ext uri="{FF2B5EF4-FFF2-40B4-BE49-F238E27FC236}">
                <a16:creationId xmlns:a16="http://schemas.microsoft.com/office/drawing/2014/main" xmlns="" id="{335E045B-8C20-4063-A4AC-CE1126B6A6B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275718" y="345600"/>
            <a:ext cx="1671890" cy="266400"/>
          </a:xfrm>
          <a:prstGeom prst="rect">
            <a:avLst/>
          </a:prstGeom>
        </p:spPr>
      </p:pic>
      <p:pic>
        <p:nvPicPr>
          <p:cNvPr id="25" name="Internal" hidden="1">
            <a:extLst>
              <a:ext uri="{FF2B5EF4-FFF2-40B4-BE49-F238E27FC236}">
                <a16:creationId xmlns:a16="http://schemas.microsoft.com/office/drawing/2014/main" xmlns="" id="{CFAE1106-3574-4FE9-B82F-D12EAEB197C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275718" y="344152"/>
            <a:ext cx="1671890" cy="266400"/>
          </a:xfrm>
          <a:prstGeom prst="rect">
            <a:avLst/>
          </a:prstGeom>
        </p:spPr>
      </p:pic>
      <p:pic>
        <p:nvPicPr>
          <p:cNvPr id="27" name="Strictly" hidden="1">
            <a:extLst>
              <a:ext uri="{FF2B5EF4-FFF2-40B4-BE49-F238E27FC236}">
                <a16:creationId xmlns:a16="http://schemas.microsoft.com/office/drawing/2014/main" xmlns="" id="{C9A12DA8-BB00-43A2-B6FC-35D89D95C927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>
            <a:off x="261960" y="345600"/>
            <a:ext cx="1671890" cy="266400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xmlns="" id="{C1CABBB2-CA9C-41F3-A28D-6CEDF3BDE24A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99330" y="6370483"/>
            <a:ext cx="2663370" cy="363891"/>
          </a:xfrm>
          <a:prstGeom prst="rect">
            <a:avLst/>
          </a:prstGeom>
        </p:spPr>
      </p:pic>
      <p:sp>
        <p:nvSpPr>
          <p:cNvPr id="34" name="Footer Placeholder 4">
            <a:extLst>
              <a:ext uri="{FF2B5EF4-FFF2-40B4-BE49-F238E27FC236}">
                <a16:creationId xmlns:a16="http://schemas.microsoft.com/office/drawing/2014/main" xmlns="" id="{0486618B-68FB-45E3-A35A-DDD33A48B6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5" name="Slide Number Placeholder 5">
            <a:extLst>
              <a:ext uri="{FF2B5EF4-FFF2-40B4-BE49-F238E27FC236}">
                <a16:creationId xmlns:a16="http://schemas.microsoft.com/office/drawing/2014/main" xmlns="" id="{DC8ACF76-1594-442B-8415-8F2C0043D3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C24EC536-6FE3-4540-8D85-74C58F0BF69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6" name="text" descr="{&#10; &quot;SkabelonDesign&quot;: {&#10; &quot;textualValue&quot;: &quot;&lt;key1/&gt;&quot;,&#10; &quot;bindingCollection&quot;: {&#10; &quot;key1&quot;: {&quot;SkabelonDesign&quot;:{&quot;type&quot;:&quot;Text&quot;,&quot;binding&quot;:&quot;Copyright&quot;}}&#10; }&#10; }&#10;}">
            <a:extLst>
              <a:ext uri="{FF2B5EF4-FFF2-40B4-BE49-F238E27FC236}">
                <a16:creationId xmlns:a16="http://schemas.microsoft.com/office/drawing/2014/main" xmlns="" id="{E21B88A0-A403-4AB9-884E-E1F08D8A6559}"/>
              </a:ext>
            </a:extLst>
          </p:cNvPr>
          <p:cNvSpPr txBox="1"/>
          <p:nvPr userDrawn="1"/>
        </p:nvSpPr>
        <p:spPr bwMode="gray">
          <a:xfrm>
            <a:off x="4856400" y="6540775"/>
            <a:ext cx="2484000" cy="16920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0" i="0" u="none" strike="noStrike" kern="1200" cap="none" spc="-1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© 2023 Hitachi Energy. All rights reserved.</a:t>
            </a:r>
            <a:endParaRPr kumimoji="0" lang="en-GB" sz="900" b="0" i="0" u="none" strike="noStrike" kern="1200" cap="none" spc="-1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37" name="Title 1" descr="{&#10; &quot;SkabelonDesign&quot;: {&#10; &quot;textualValue&quot;: &quot;&lt;key1/&gt;&quot;,&#10; &quot;bindingCollection&quot;: {&#10; &quot;key1&quot;: {&quot;SkabelonDesign&quot;:{&quot;type&quot;:&quot;Text&quot;,&quot;binding&quot;:&quot;Title&quot;}}&#10; }&#10; }&#10;}">
            <a:extLst>
              <a:ext uri="{FF2B5EF4-FFF2-40B4-BE49-F238E27FC236}">
                <a16:creationId xmlns:a16="http://schemas.microsoft.com/office/drawing/2014/main" xmlns="" id="{85A083AA-2179-4949-BA44-96F5E7F17DD0}"/>
              </a:ext>
            </a:extLst>
          </p:cNvPr>
          <p:cNvSpPr txBox="1">
            <a:spLocks/>
          </p:cNvSpPr>
          <p:nvPr userDrawn="1"/>
        </p:nvSpPr>
        <p:spPr>
          <a:xfrm>
            <a:off x="1368000" y="5090400"/>
            <a:ext cx="10555200" cy="493200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>
                <a:solidFill>
                  <a:schemeClr val="tx1"/>
                </a:solidFill>
              </a:rPr>
              <a:t>Multiterminal experiences</a:t>
            </a:r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38" name="Subtitle 2" descr="{&#10; &quot;SkabelonDesign&quot;: {&#10; &quot;textualValue&quot;: &quot;&lt;key1/&gt;&quot;,&#10; &quot;bindingCollection&quot;: {&#10; &quot;key1&quot;: {&quot;SkabelonDesign&quot;:{&quot;type&quot;:&quot;Text&quot;,&quot;binding&quot;:&quot;SupplementaryTitle&quot;}}&#10; }&#10; }&#10;}">
            <a:extLst>
              <a:ext uri="{FF2B5EF4-FFF2-40B4-BE49-F238E27FC236}">
                <a16:creationId xmlns:a16="http://schemas.microsoft.com/office/drawing/2014/main" xmlns="" id="{9D64BD7E-9341-47BB-BA00-E31F74C1F95B}"/>
              </a:ext>
            </a:extLst>
          </p:cNvPr>
          <p:cNvSpPr txBox="1">
            <a:spLocks/>
          </p:cNvSpPr>
          <p:nvPr userDrawn="1"/>
        </p:nvSpPr>
        <p:spPr>
          <a:xfrm>
            <a:off x="1378800" y="5583600"/>
            <a:ext cx="10555200" cy="327600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 Nova Light" panose="020B0304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schemeClr val="tx1"/>
                </a:solidFill>
                <a:latin typeface="+mn-lt"/>
              </a:rPr>
              <a:t>Examples from CMS project</a:t>
            </a:r>
            <a:endParaRPr lang="en-GB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39" name="Subtitle 2" descr="{&#10; &quot;SkabelonDesign&quot;: {&#10; &quot;textualValue&quot;: &quot;&lt;key1/&gt;&quot;,&#10; &quot;bindingCollection&quot;: {&#10; &quot;key1&quot;: {&quot;SkabelonDesign&quot;:{&quot;type&quot;:&quot;Text&quot;,&quot;binding&quot;:&quot;AdditionalInformation&quot;}}&#10; }&#10; }&#10;}">
            <a:extLst>
              <a:ext uri="{FF2B5EF4-FFF2-40B4-BE49-F238E27FC236}">
                <a16:creationId xmlns:a16="http://schemas.microsoft.com/office/drawing/2014/main" xmlns="" id="{0EC2E723-61CE-4C8C-BECE-AF3403B1D12D}"/>
              </a:ext>
            </a:extLst>
          </p:cNvPr>
          <p:cNvSpPr txBox="1">
            <a:spLocks/>
          </p:cNvSpPr>
          <p:nvPr userDrawn="1"/>
        </p:nvSpPr>
        <p:spPr>
          <a:xfrm>
            <a:off x="1378800" y="5972400"/>
            <a:ext cx="10555200" cy="306000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 Nova Light" panose="020B0304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>
              <a:solidFill>
                <a:schemeClr val="tx1"/>
              </a:solidFill>
            </a:endParaRPr>
          </a:p>
        </p:txBody>
      </p:sp>
      <p:sp>
        <p:nvSpPr>
          <p:cNvPr id="40" name="text" descr="{&#10; &quot;SkabelonDesign&quot;: {&#10; &quot;textualValue&quot;: &quot;&lt;key1/&gt;&quot;,&#10; &quot;bindingCollection&quot;: {&#10; &quot;key1&quot;: {&quot;SkabelonDesign&quot;:{&quot;type&quot;:&quot;Text&quot;,&quot;binding&quot;:&quot;PPMetadata&quot;}}&#10; }&#10; }&#10;}">
            <a:extLst>
              <a:ext uri="{FF2B5EF4-FFF2-40B4-BE49-F238E27FC236}">
                <a16:creationId xmlns:a16="http://schemas.microsoft.com/office/drawing/2014/main" xmlns="" id="{CDF51FEF-E9E1-4C32-AB05-F101B7031708}"/>
              </a:ext>
            </a:extLst>
          </p:cNvPr>
          <p:cNvSpPr txBox="1"/>
          <p:nvPr userDrawn="1"/>
        </p:nvSpPr>
        <p:spPr bwMode="gray">
          <a:xfrm>
            <a:off x="1378800" y="6547975"/>
            <a:ext cx="2889921" cy="15494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algn="l"/>
            <a:r>
              <a:rPr lang="en-GB" sz="930">
                <a:solidFill>
                  <a:schemeClr val="tx1"/>
                </a:solidFill>
              </a:rPr>
              <a:t>2023-10-11</a:t>
            </a:r>
            <a:endParaRPr lang="en-GB" sz="93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5903564"/>
      </p:ext>
    </p:extLst>
  </p:cSld>
  <p:clrMapOvr>
    <a:masterClrMapping/>
  </p:clrMapOvr>
  <p:hf hd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(2.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3">
            <a:extLst>
              <a:ext uri="{FF2B5EF4-FFF2-40B4-BE49-F238E27FC236}">
                <a16:creationId xmlns:a16="http://schemas.microsoft.com/office/drawing/2014/main" xmlns="" id="{C0EE7B7B-F566-4855-B2E0-D348111D66F4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365625" y="1473607"/>
            <a:ext cx="7561263" cy="4871631"/>
          </a:xfrm>
          <a:noFill/>
        </p:spPr>
        <p:txBody>
          <a:bodyPr tIns="756000" anchor="ctr"/>
          <a:lstStyle>
            <a:lvl1pPr algn="ctr">
              <a:defRPr>
                <a:solidFill>
                  <a:srgbClr val="737373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xmlns="" id="{12445A48-DFDC-4E09-8D6E-8099DA8B659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>
          <a:xfrm>
            <a:off x="263524" y="1473607"/>
            <a:ext cx="3671176" cy="252000"/>
          </a:xfrm>
        </p:spPr>
        <p:txBody>
          <a:bodyPr lIns="0" tIns="0" rIns="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xmlns="" id="{FCC96F22-1D0B-46E5-954A-AA05B097B747}"/>
              </a:ext>
            </a:extLst>
          </p:cNvPr>
          <p:cNvSpPr>
            <a:spLocks noGrp="1"/>
          </p:cNvSpPr>
          <p:nvPr>
            <p:ph sz="quarter" idx="19"/>
          </p:nvPr>
        </p:nvSpPr>
        <p:spPr bwMode="gray">
          <a:xfrm>
            <a:off x="263524" y="1844826"/>
            <a:ext cx="3671175" cy="4500412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xmlns="" id="{57C3C68D-E277-49A8-834F-0D34C53437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4" y="187199"/>
            <a:ext cx="8856000" cy="435600"/>
          </a:xfrm>
        </p:spPr>
        <p:txBody>
          <a:bodyPr anchor="ctr">
            <a:no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21A91A90-C358-4182-8941-2785F1D86746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C24EC536-6FE3-4540-8D85-74C58F0BF69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Footer Placeholder 5">
            <a:extLst>
              <a:ext uri="{FF2B5EF4-FFF2-40B4-BE49-F238E27FC236}">
                <a16:creationId xmlns:a16="http://schemas.microsoft.com/office/drawing/2014/main" xmlns="" id="{9AE11B54-747B-49F6-9A28-91DD6337333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16400" y="6433200"/>
            <a:ext cx="6123600" cy="255600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900"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1436192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(2.2) &amp;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3">
            <a:extLst>
              <a:ext uri="{FF2B5EF4-FFF2-40B4-BE49-F238E27FC236}">
                <a16:creationId xmlns:a16="http://schemas.microsoft.com/office/drawing/2014/main" xmlns="" id="{0AEFB7B0-854C-45D4-A22F-879EC656594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365625" y="1473607"/>
            <a:ext cx="7561263" cy="4187634"/>
          </a:xfrm>
          <a:noFill/>
        </p:spPr>
        <p:txBody>
          <a:bodyPr tIns="756000" anchor="ctr"/>
          <a:lstStyle>
            <a:lvl1pPr algn="ctr">
              <a:defRPr>
                <a:solidFill>
                  <a:srgbClr val="737373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xmlns="" id="{78A8AAB4-C8C7-488C-83C0-22CAE59FCCF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>
          <a:xfrm>
            <a:off x="263524" y="1473607"/>
            <a:ext cx="3671176" cy="252000"/>
          </a:xfrm>
        </p:spPr>
        <p:txBody>
          <a:bodyPr lIns="0" tIns="0" rIns="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endParaRPr lang="en-US" dirty="0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xmlns="" id="{FA58BBDD-2EE1-4C1F-AB47-C6391021C845}"/>
              </a:ext>
            </a:extLst>
          </p:cNvPr>
          <p:cNvSpPr>
            <a:spLocks noGrp="1"/>
          </p:cNvSpPr>
          <p:nvPr>
            <p:ph sz="quarter" idx="19"/>
          </p:nvPr>
        </p:nvSpPr>
        <p:spPr bwMode="gray">
          <a:xfrm>
            <a:off x="263524" y="1844826"/>
            <a:ext cx="3671175" cy="3816415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xmlns="" id="{0D4FF23E-C363-4D06-8128-2E419B877AA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 bwMode="gray">
          <a:xfrm>
            <a:off x="0" y="5805264"/>
            <a:ext cx="12192000" cy="539974"/>
          </a:xfrm>
          <a:solidFill>
            <a:srgbClr val="D9D9D9"/>
          </a:solidFill>
        </p:spPr>
        <p:txBody>
          <a:bodyPr lIns="252000" tIns="0" rIns="25200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xmlns="" id="{0BDFCA8A-B0DF-438D-A645-00DAEE4E93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4" y="187199"/>
            <a:ext cx="8856000" cy="435600"/>
          </a:xfrm>
        </p:spPr>
        <p:txBody>
          <a:bodyPr anchor="ctr">
            <a:no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30A2D7C0-4E8E-4932-B53F-A0D5A3EC8F09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C24EC536-6FE3-4540-8D85-74C58F0BF69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Footer Placeholder 5">
            <a:extLst>
              <a:ext uri="{FF2B5EF4-FFF2-40B4-BE49-F238E27FC236}">
                <a16:creationId xmlns:a16="http://schemas.microsoft.com/office/drawing/2014/main" xmlns="" id="{0B95AA5A-D284-4865-8A5F-EC6ED88E9B9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16400" y="6433200"/>
            <a:ext cx="6123600" cy="255600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900"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6697095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(2.3) &amp;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3">
            <a:extLst>
              <a:ext uri="{FF2B5EF4-FFF2-40B4-BE49-F238E27FC236}">
                <a16:creationId xmlns:a16="http://schemas.microsoft.com/office/drawing/2014/main" xmlns="" id="{0AEFB7B0-854C-45D4-A22F-879EC656594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365625" y="1473607"/>
            <a:ext cx="7561263" cy="4187634"/>
          </a:xfrm>
          <a:noFill/>
        </p:spPr>
        <p:txBody>
          <a:bodyPr tIns="756000" anchor="ctr"/>
          <a:lstStyle>
            <a:lvl1pPr algn="ctr">
              <a:defRPr>
                <a:solidFill>
                  <a:srgbClr val="737373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xmlns="" id="{78A8AAB4-C8C7-488C-83C0-22CAE59FCCF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>
          <a:xfrm>
            <a:off x="263524" y="1473607"/>
            <a:ext cx="3671176" cy="252000"/>
          </a:xfrm>
        </p:spPr>
        <p:txBody>
          <a:bodyPr lIns="0" tIns="0" rIns="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endParaRPr lang="en-US" dirty="0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xmlns="" id="{FA58BBDD-2EE1-4C1F-AB47-C6391021C845}"/>
              </a:ext>
            </a:extLst>
          </p:cNvPr>
          <p:cNvSpPr>
            <a:spLocks noGrp="1"/>
          </p:cNvSpPr>
          <p:nvPr>
            <p:ph sz="quarter" idx="19"/>
          </p:nvPr>
        </p:nvSpPr>
        <p:spPr bwMode="gray">
          <a:xfrm>
            <a:off x="263524" y="1844826"/>
            <a:ext cx="3671175" cy="3816415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xmlns="" id="{0D4FF23E-C363-4D06-8128-2E419B877AA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 bwMode="gray">
          <a:xfrm>
            <a:off x="0" y="5805264"/>
            <a:ext cx="12192000" cy="539974"/>
          </a:xfrm>
          <a:solidFill>
            <a:schemeClr val="tx2"/>
          </a:solidFill>
        </p:spPr>
        <p:txBody>
          <a:bodyPr lIns="252000" tIns="0" rIns="25200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xmlns="" id="{0BDFCA8A-B0DF-438D-A645-00DAEE4E93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4" y="187199"/>
            <a:ext cx="8856000" cy="435600"/>
          </a:xfrm>
        </p:spPr>
        <p:txBody>
          <a:bodyPr anchor="ctr">
            <a:no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30A2D7C0-4E8E-4932-B53F-A0D5A3EC8F09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C24EC536-6FE3-4540-8D85-74C58F0BF69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Footer Placeholder 5">
            <a:extLst>
              <a:ext uri="{FF2B5EF4-FFF2-40B4-BE49-F238E27FC236}">
                <a16:creationId xmlns:a16="http://schemas.microsoft.com/office/drawing/2014/main" xmlns="" id="{D0AFF44E-DC9C-473B-A33F-12A2B19416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16400" y="6433200"/>
            <a:ext cx="6123600" cy="255600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900"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5822142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 Placeholder 11">
            <a:extLst>
              <a:ext uri="{FF2B5EF4-FFF2-40B4-BE49-F238E27FC236}">
                <a16:creationId xmlns:a16="http://schemas.microsoft.com/office/drawing/2014/main" xmlns="" id="{7E0ABA0E-3031-4D04-A99C-3A2FFCD49CA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263524" y="1378355"/>
            <a:ext cx="3672235" cy="252000"/>
          </a:xfrm>
        </p:spPr>
        <p:txBody>
          <a:bodyPr lIns="0" tIns="0" rIns="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4" name="Text Placeholder 11">
            <a:extLst>
              <a:ext uri="{FF2B5EF4-FFF2-40B4-BE49-F238E27FC236}">
                <a16:creationId xmlns:a16="http://schemas.microsoft.com/office/drawing/2014/main" xmlns="" id="{72865FF8-1BCA-4EA6-A89C-0D5083BCA73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>
          <a:xfrm>
            <a:off x="4256387" y="1378355"/>
            <a:ext cx="3672235" cy="252000"/>
          </a:xfrm>
        </p:spPr>
        <p:txBody>
          <a:bodyPr lIns="0" tIns="0" rIns="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2" name="Text Placeholder 11">
            <a:extLst>
              <a:ext uri="{FF2B5EF4-FFF2-40B4-BE49-F238E27FC236}">
                <a16:creationId xmlns:a16="http://schemas.microsoft.com/office/drawing/2014/main" xmlns="" id="{F1C5E35E-D10A-42B4-960D-58E5BEC9E73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>
          <a:xfrm>
            <a:off x="8249249" y="1378355"/>
            <a:ext cx="3672235" cy="252000"/>
          </a:xfrm>
        </p:spPr>
        <p:txBody>
          <a:bodyPr lIns="0" tIns="0" rIns="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4" name="Content Placeholder 3">
            <a:extLst>
              <a:ext uri="{FF2B5EF4-FFF2-40B4-BE49-F238E27FC236}">
                <a16:creationId xmlns:a16="http://schemas.microsoft.com/office/drawing/2014/main" xmlns="" id="{63E7E550-48D1-4848-89AD-7BC59C0A08AD}"/>
              </a:ext>
            </a:extLst>
          </p:cNvPr>
          <p:cNvSpPr>
            <a:spLocks noGrp="1"/>
          </p:cNvSpPr>
          <p:nvPr>
            <p:ph sz="quarter" idx="19"/>
          </p:nvPr>
        </p:nvSpPr>
        <p:spPr bwMode="gray">
          <a:xfrm>
            <a:off x="263524" y="1749573"/>
            <a:ext cx="3672235" cy="4594055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7" name="Content Placeholder 3">
            <a:extLst>
              <a:ext uri="{FF2B5EF4-FFF2-40B4-BE49-F238E27FC236}">
                <a16:creationId xmlns:a16="http://schemas.microsoft.com/office/drawing/2014/main" xmlns="" id="{8901D278-1232-4D46-9CDD-5343894C20FC}"/>
              </a:ext>
            </a:extLst>
          </p:cNvPr>
          <p:cNvSpPr>
            <a:spLocks noGrp="1"/>
          </p:cNvSpPr>
          <p:nvPr>
            <p:ph sz="quarter" idx="26"/>
          </p:nvPr>
        </p:nvSpPr>
        <p:spPr bwMode="gray">
          <a:xfrm>
            <a:off x="4256388" y="1749573"/>
            <a:ext cx="3672235" cy="4594055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8" name="Content Placeholder 3">
            <a:extLst>
              <a:ext uri="{FF2B5EF4-FFF2-40B4-BE49-F238E27FC236}">
                <a16:creationId xmlns:a16="http://schemas.microsoft.com/office/drawing/2014/main" xmlns="" id="{1F4A5F9D-DCF9-4BB5-9762-2EF3B04961F1}"/>
              </a:ext>
            </a:extLst>
          </p:cNvPr>
          <p:cNvSpPr>
            <a:spLocks noGrp="1"/>
          </p:cNvSpPr>
          <p:nvPr>
            <p:ph sz="quarter" idx="27"/>
          </p:nvPr>
        </p:nvSpPr>
        <p:spPr bwMode="gray">
          <a:xfrm>
            <a:off x="8249250" y="1749573"/>
            <a:ext cx="3672235" cy="4594055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xmlns="" id="{5F447530-1BB2-420E-A7A1-85F58824AC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4" y="187199"/>
            <a:ext cx="8856000" cy="435600"/>
          </a:xfrm>
        </p:spPr>
        <p:txBody>
          <a:bodyPr anchor="ctr">
            <a:no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B033FE0A-B3C7-4406-8A94-867E59BB39D1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C24EC536-6FE3-4540-8D85-74C58F0BF69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Footer Placeholder 5">
            <a:extLst>
              <a:ext uri="{FF2B5EF4-FFF2-40B4-BE49-F238E27FC236}">
                <a16:creationId xmlns:a16="http://schemas.microsoft.com/office/drawing/2014/main" xmlns="" id="{3C05A8AC-8002-4539-BE26-137B3B46B7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16400" y="6433200"/>
            <a:ext cx="6123600" cy="255600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900"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5292065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3) &amp;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 Placeholder 11">
            <a:extLst>
              <a:ext uri="{FF2B5EF4-FFF2-40B4-BE49-F238E27FC236}">
                <a16:creationId xmlns:a16="http://schemas.microsoft.com/office/drawing/2014/main" xmlns="" id="{CDA80729-DBFE-418B-9D52-CF6041D6EDC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263524" y="1378355"/>
            <a:ext cx="3672235" cy="252000"/>
          </a:xfrm>
        </p:spPr>
        <p:txBody>
          <a:bodyPr lIns="0" tIns="0" rIns="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1" name="Text Placeholder 11">
            <a:extLst>
              <a:ext uri="{FF2B5EF4-FFF2-40B4-BE49-F238E27FC236}">
                <a16:creationId xmlns:a16="http://schemas.microsoft.com/office/drawing/2014/main" xmlns="" id="{57E98820-E129-4E41-8580-1A0D210E0A2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>
          <a:xfrm>
            <a:off x="4256387" y="1378355"/>
            <a:ext cx="3672235" cy="252000"/>
          </a:xfrm>
        </p:spPr>
        <p:txBody>
          <a:bodyPr lIns="0" tIns="0" rIns="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3" name="Text Placeholder 11">
            <a:extLst>
              <a:ext uri="{FF2B5EF4-FFF2-40B4-BE49-F238E27FC236}">
                <a16:creationId xmlns:a16="http://schemas.microsoft.com/office/drawing/2014/main" xmlns="" id="{FCF04A61-9D23-473E-B05F-E1C2B3AB85F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>
          <a:xfrm>
            <a:off x="8249249" y="1378355"/>
            <a:ext cx="3672235" cy="252000"/>
          </a:xfrm>
        </p:spPr>
        <p:txBody>
          <a:bodyPr lIns="0" tIns="0" rIns="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4" name="Content Placeholder 3">
            <a:extLst>
              <a:ext uri="{FF2B5EF4-FFF2-40B4-BE49-F238E27FC236}">
                <a16:creationId xmlns:a16="http://schemas.microsoft.com/office/drawing/2014/main" xmlns="" id="{2FF70659-3D12-4399-BD53-03E120732342}"/>
              </a:ext>
            </a:extLst>
          </p:cNvPr>
          <p:cNvSpPr>
            <a:spLocks noGrp="1"/>
          </p:cNvSpPr>
          <p:nvPr>
            <p:ph sz="quarter" idx="26"/>
          </p:nvPr>
        </p:nvSpPr>
        <p:spPr bwMode="gray">
          <a:xfrm>
            <a:off x="4256388" y="1749574"/>
            <a:ext cx="3672235" cy="3911674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5" name="Content Placeholder 3">
            <a:extLst>
              <a:ext uri="{FF2B5EF4-FFF2-40B4-BE49-F238E27FC236}">
                <a16:creationId xmlns:a16="http://schemas.microsoft.com/office/drawing/2014/main" xmlns="" id="{D980C96F-688C-4820-9207-E738CE6AFDCD}"/>
              </a:ext>
            </a:extLst>
          </p:cNvPr>
          <p:cNvSpPr>
            <a:spLocks noGrp="1"/>
          </p:cNvSpPr>
          <p:nvPr>
            <p:ph sz="quarter" idx="27"/>
          </p:nvPr>
        </p:nvSpPr>
        <p:spPr bwMode="gray">
          <a:xfrm>
            <a:off x="8249250" y="1749574"/>
            <a:ext cx="3672235" cy="3911674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6" name="Content Placeholder 3">
            <a:extLst>
              <a:ext uri="{FF2B5EF4-FFF2-40B4-BE49-F238E27FC236}">
                <a16:creationId xmlns:a16="http://schemas.microsoft.com/office/drawing/2014/main" xmlns="" id="{054D3D82-4D02-426D-A4D3-ED7B4DB18F00}"/>
              </a:ext>
            </a:extLst>
          </p:cNvPr>
          <p:cNvSpPr>
            <a:spLocks noGrp="1"/>
          </p:cNvSpPr>
          <p:nvPr>
            <p:ph sz="quarter" idx="19"/>
          </p:nvPr>
        </p:nvSpPr>
        <p:spPr bwMode="gray">
          <a:xfrm>
            <a:off x="263524" y="1749574"/>
            <a:ext cx="3672235" cy="3911674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xmlns="" id="{FD79CCB4-AEE2-44DB-95E4-B439552C0F88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 bwMode="gray">
          <a:xfrm>
            <a:off x="0" y="5805264"/>
            <a:ext cx="12192000" cy="539974"/>
          </a:xfrm>
          <a:solidFill>
            <a:srgbClr val="D9D9D9"/>
          </a:solidFill>
        </p:spPr>
        <p:txBody>
          <a:bodyPr lIns="252000" tIns="0" rIns="25200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xmlns="" id="{A777474D-3C2D-44B6-91A4-4BD1D8ED9D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4" y="187199"/>
            <a:ext cx="8856000" cy="435600"/>
          </a:xfrm>
        </p:spPr>
        <p:txBody>
          <a:bodyPr anchor="ctr">
            <a:no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F90DD389-2C10-48FE-9B91-0861F562D795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C24EC536-6FE3-4540-8D85-74C58F0BF69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Footer Placeholder 5">
            <a:extLst>
              <a:ext uri="{FF2B5EF4-FFF2-40B4-BE49-F238E27FC236}">
                <a16:creationId xmlns:a16="http://schemas.microsoft.com/office/drawing/2014/main" xmlns="" id="{BF366892-1082-4262-9EC7-6AC90D26F2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16400" y="6433200"/>
            <a:ext cx="6123600" cy="255600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900"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2724418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3) &amp; Box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 Placeholder 11">
            <a:extLst>
              <a:ext uri="{FF2B5EF4-FFF2-40B4-BE49-F238E27FC236}">
                <a16:creationId xmlns:a16="http://schemas.microsoft.com/office/drawing/2014/main" xmlns="" id="{CDA80729-DBFE-418B-9D52-CF6041D6EDC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263524" y="1378355"/>
            <a:ext cx="3672235" cy="252000"/>
          </a:xfrm>
        </p:spPr>
        <p:txBody>
          <a:bodyPr lIns="0" tIns="0" rIns="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1" name="Text Placeholder 11">
            <a:extLst>
              <a:ext uri="{FF2B5EF4-FFF2-40B4-BE49-F238E27FC236}">
                <a16:creationId xmlns:a16="http://schemas.microsoft.com/office/drawing/2014/main" xmlns="" id="{57E98820-E129-4E41-8580-1A0D210E0A2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>
          <a:xfrm>
            <a:off x="4256387" y="1378355"/>
            <a:ext cx="3672235" cy="252000"/>
          </a:xfrm>
        </p:spPr>
        <p:txBody>
          <a:bodyPr lIns="0" tIns="0" rIns="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3" name="Text Placeholder 11">
            <a:extLst>
              <a:ext uri="{FF2B5EF4-FFF2-40B4-BE49-F238E27FC236}">
                <a16:creationId xmlns:a16="http://schemas.microsoft.com/office/drawing/2014/main" xmlns="" id="{FCF04A61-9D23-473E-B05F-E1C2B3AB85F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>
          <a:xfrm>
            <a:off x="8249249" y="1378355"/>
            <a:ext cx="3672235" cy="252000"/>
          </a:xfrm>
        </p:spPr>
        <p:txBody>
          <a:bodyPr lIns="0" tIns="0" rIns="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4" name="Content Placeholder 3">
            <a:extLst>
              <a:ext uri="{FF2B5EF4-FFF2-40B4-BE49-F238E27FC236}">
                <a16:creationId xmlns:a16="http://schemas.microsoft.com/office/drawing/2014/main" xmlns="" id="{2FF70659-3D12-4399-BD53-03E120732342}"/>
              </a:ext>
            </a:extLst>
          </p:cNvPr>
          <p:cNvSpPr>
            <a:spLocks noGrp="1"/>
          </p:cNvSpPr>
          <p:nvPr>
            <p:ph sz="quarter" idx="26"/>
          </p:nvPr>
        </p:nvSpPr>
        <p:spPr bwMode="gray">
          <a:xfrm>
            <a:off x="4256388" y="1749574"/>
            <a:ext cx="3672235" cy="3911674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5" name="Content Placeholder 3">
            <a:extLst>
              <a:ext uri="{FF2B5EF4-FFF2-40B4-BE49-F238E27FC236}">
                <a16:creationId xmlns:a16="http://schemas.microsoft.com/office/drawing/2014/main" xmlns="" id="{D980C96F-688C-4820-9207-E738CE6AFDCD}"/>
              </a:ext>
            </a:extLst>
          </p:cNvPr>
          <p:cNvSpPr>
            <a:spLocks noGrp="1"/>
          </p:cNvSpPr>
          <p:nvPr>
            <p:ph sz="quarter" idx="27"/>
          </p:nvPr>
        </p:nvSpPr>
        <p:spPr bwMode="gray">
          <a:xfrm>
            <a:off x="8249250" y="1749574"/>
            <a:ext cx="3672235" cy="3911674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6" name="Content Placeholder 3">
            <a:extLst>
              <a:ext uri="{FF2B5EF4-FFF2-40B4-BE49-F238E27FC236}">
                <a16:creationId xmlns:a16="http://schemas.microsoft.com/office/drawing/2014/main" xmlns="" id="{054D3D82-4D02-426D-A4D3-ED7B4DB18F00}"/>
              </a:ext>
            </a:extLst>
          </p:cNvPr>
          <p:cNvSpPr>
            <a:spLocks noGrp="1"/>
          </p:cNvSpPr>
          <p:nvPr>
            <p:ph sz="quarter" idx="19"/>
          </p:nvPr>
        </p:nvSpPr>
        <p:spPr bwMode="gray">
          <a:xfrm>
            <a:off x="263524" y="1749574"/>
            <a:ext cx="3672235" cy="3911674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xmlns="" id="{FD79CCB4-AEE2-44DB-95E4-B439552C0F88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 bwMode="gray">
          <a:xfrm>
            <a:off x="0" y="5805264"/>
            <a:ext cx="12192000" cy="539974"/>
          </a:xfrm>
          <a:solidFill>
            <a:schemeClr val="tx2"/>
          </a:solidFill>
        </p:spPr>
        <p:txBody>
          <a:bodyPr lIns="252000" tIns="0" rIns="25200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xmlns="" id="{A777474D-3C2D-44B6-91A4-4BD1D8ED9D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4" y="187199"/>
            <a:ext cx="8856000" cy="435600"/>
          </a:xfrm>
        </p:spPr>
        <p:txBody>
          <a:bodyPr anchor="ctr">
            <a:no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A404926C-6EEB-421D-89B9-50DAB4B9E99E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C24EC536-6FE3-4540-8D85-74C58F0BF69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Footer Placeholder 5">
            <a:extLst>
              <a:ext uri="{FF2B5EF4-FFF2-40B4-BE49-F238E27FC236}">
                <a16:creationId xmlns:a16="http://schemas.microsoft.com/office/drawing/2014/main" xmlns="" id="{81147F52-CFA2-45CD-9299-1374B6B4D3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16400" y="6433200"/>
            <a:ext cx="6123600" cy="255600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900"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7941124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xmlns="" id="{915F9CBB-E821-4E2F-A816-2A6B3BD027DC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263525" y="1125538"/>
            <a:ext cx="3672234" cy="4607718"/>
          </a:xfrm>
          <a:noFill/>
        </p:spPr>
        <p:txBody>
          <a:bodyPr tIns="684000" anchor="ctr"/>
          <a:lstStyle>
            <a:lvl1pPr algn="ctr">
              <a:defRPr>
                <a:solidFill>
                  <a:srgbClr val="737373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xmlns="" id="{54879FBB-2471-4EEA-96E3-1852E4522488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56389" y="1125538"/>
            <a:ext cx="3672234" cy="4607718"/>
          </a:xfrm>
          <a:noFill/>
        </p:spPr>
        <p:txBody>
          <a:bodyPr tIns="684000" anchor="ctr"/>
          <a:lstStyle>
            <a:lvl1pPr algn="ctr">
              <a:defRPr>
                <a:solidFill>
                  <a:srgbClr val="737373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7" name="Picture Placeholder 3">
            <a:extLst>
              <a:ext uri="{FF2B5EF4-FFF2-40B4-BE49-F238E27FC236}">
                <a16:creationId xmlns:a16="http://schemas.microsoft.com/office/drawing/2014/main" xmlns="" id="{C8A19E55-5FD1-41A7-9330-CBE422A2F983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249252" y="1125538"/>
            <a:ext cx="3672234" cy="4607718"/>
          </a:xfrm>
          <a:noFill/>
        </p:spPr>
        <p:txBody>
          <a:bodyPr tIns="684000" anchor="ctr"/>
          <a:lstStyle>
            <a:lvl1pPr algn="ctr">
              <a:defRPr>
                <a:solidFill>
                  <a:srgbClr val="737373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5" name="Text Placeholder 11">
            <a:extLst>
              <a:ext uri="{FF2B5EF4-FFF2-40B4-BE49-F238E27FC236}">
                <a16:creationId xmlns:a16="http://schemas.microsoft.com/office/drawing/2014/main" xmlns="" id="{6207F6BF-44C7-488D-ADCD-98805D32C39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>
          <a:xfrm>
            <a:off x="267018" y="5732462"/>
            <a:ext cx="3672235" cy="612776"/>
          </a:xfrm>
          <a:solidFill>
            <a:schemeClr val="tx2"/>
          </a:solidFill>
        </p:spPr>
        <p:txBody>
          <a:bodyPr lIns="72000" tIns="36000" rIns="72000" bIns="72000" anchor="ctr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6" name="Text Placeholder 11">
            <a:extLst>
              <a:ext uri="{FF2B5EF4-FFF2-40B4-BE49-F238E27FC236}">
                <a16:creationId xmlns:a16="http://schemas.microsoft.com/office/drawing/2014/main" xmlns="" id="{DC9F35B5-C9B8-4D17-8513-69D23F7BF18C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>
          <a:xfrm>
            <a:off x="4259881" y="5732462"/>
            <a:ext cx="3672235" cy="612776"/>
          </a:xfrm>
          <a:solidFill>
            <a:srgbClr val="4D4D4D"/>
          </a:solidFill>
        </p:spPr>
        <p:txBody>
          <a:bodyPr lIns="72000" tIns="36000" rIns="72000" bIns="72000" anchor="ctr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7" name="Text Placeholder 11">
            <a:extLst>
              <a:ext uri="{FF2B5EF4-FFF2-40B4-BE49-F238E27FC236}">
                <a16:creationId xmlns:a16="http://schemas.microsoft.com/office/drawing/2014/main" xmlns="" id="{D2E389A2-EF80-4B19-AFA8-B0AA653E44C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>
          <a:xfrm>
            <a:off x="8252743" y="5732462"/>
            <a:ext cx="3672235" cy="612776"/>
          </a:xfrm>
          <a:solidFill>
            <a:srgbClr val="B3B3B3"/>
          </a:solidFill>
        </p:spPr>
        <p:txBody>
          <a:bodyPr lIns="72000" tIns="36000" rIns="72000" bIns="72000" anchor="ctr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xmlns="" id="{939DA7FE-EFD8-44FB-A789-66635C85AA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4" y="187199"/>
            <a:ext cx="8856000" cy="435600"/>
          </a:xfrm>
        </p:spPr>
        <p:txBody>
          <a:bodyPr anchor="ctr">
            <a:no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F7A14699-807F-4544-96BD-6B248DD7A8EA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C24EC536-6FE3-4540-8D85-74C58F0BF69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Footer Placeholder 5">
            <a:extLst>
              <a:ext uri="{FF2B5EF4-FFF2-40B4-BE49-F238E27FC236}">
                <a16:creationId xmlns:a16="http://schemas.microsoft.com/office/drawing/2014/main" xmlns="" id="{366547F9-DA08-4834-9872-F164D0491EA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16400" y="6433200"/>
            <a:ext cx="6123600" cy="255600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900"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9011913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xmlns="" id="{915F9CBB-E821-4E2F-A816-2A6B3BD027DC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263525" y="3861048"/>
            <a:ext cx="3672234" cy="1932336"/>
          </a:xfrm>
          <a:noFill/>
        </p:spPr>
        <p:txBody>
          <a:bodyPr tIns="432000" anchor="ctr"/>
          <a:lstStyle>
            <a:lvl1pPr algn="ctr">
              <a:defRPr>
                <a:solidFill>
                  <a:srgbClr val="737373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xmlns="" id="{54879FBB-2471-4EEA-96E3-1852E4522488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56389" y="3861048"/>
            <a:ext cx="3672234" cy="1932336"/>
          </a:xfrm>
          <a:noFill/>
        </p:spPr>
        <p:txBody>
          <a:bodyPr tIns="432000" anchor="ctr"/>
          <a:lstStyle>
            <a:lvl1pPr algn="ctr">
              <a:defRPr>
                <a:solidFill>
                  <a:srgbClr val="737373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7" name="Picture Placeholder 3">
            <a:extLst>
              <a:ext uri="{FF2B5EF4-FFF2-40B4-BE49-F238E27FC236}">
                <a16:creationId xmlns:a16="http://schemas.microsoft.com/office/drawing/2014/main" xmlns="" id="{C8A19E55-5FD1-41A7-9330-CBE422A2F983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249252" y="3861048"/>
            <a:ext cx="3672234" cy="1932336"/>
          </a:xfrm>
          <a:noFill/>
        </p:spPr>
        <p:txBody>
          <a:bodyPr tIns="432000" anchor="ctr"/>
          <a:lstStyle>
            <a:lvl1pPr algn="ctr">
              <a:defRPr>
                <a:solidFill>
                  <a:srgbClr val="737373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1" name="Picture Placeholder 3">
            <a:extLst>
              <a:ext uri="{FF2B5EF4-FFF2-40B4-BE49-F238E27FC236}">
                <a16:creationId xmlns:a16="http://schemas.microsoft.com/office/drawing/2014/main" xmlns="" id="{F40D1890-8040-4006-A3B9-446A3E6E0CFB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263525" y="1125539"/>
            <a:ext cx="3672234" cy="1943421"/>
          </a:xfrm>
          <a:noFill/>
        </p:spPr>
        <p:txBody>
          <a:bodyPr tIns="432000" anchor="ctr"/>
          <a:lstStyle>
            <a:lvl1pPr algn="ctr">
              <a:defRPr>
                <a:solidFill>
                  <a:srgbClr val="737373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2" name="Picture Placeholder 3">
            <a:extLst>
              <a:ext uri="{FF2B5EF4-FFF2-40B4-BE49-F238E27FC236}">
                <a16:creationId xmlns:a16="http://schemas.microsoft.com/office/drawing/2014/main" xmlns="" id="{47177829-69B6-4B8D-AA32-306D7D789445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4256389" y="1125539"/>
            <a:ext cx="3672234" cy="1943421"/>
          </a:xfrm>
          <a:noFill/>
        </p:spPr>
        <p:txBody>
          <a:bodyPr tIns="432000" anchor="ctr"/>
          <a:lstStyle>
            <a:lvl1pPr algn="ctr">
              <a:defRPr>
                <a:solidFill>
                  <a:srgbClr val="737373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3" name="Picture Placeholder 3">
            <a:extLst>
              <a:ext uri="{FF2B5EF4-FFF2-40B4-BE49-F238E27FC236}">
                <a16:creationId xmlns:a16="http://schemas.microsoft.com/office/drawing/2014/main" xmlns="" id="{D9296858-018B-48AE-96A4-CE6634F857C5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8249252" y="1125539"/>
            <a:ext cx="3672234" cy="1943421"/>
          </a:xfrm>
          <a:noFill/>
        </p:spPr>
        <p:txBody>
          <a:bodyPr tIns="432000" anchor="ctr"/>
          <a:lstStyle>
            <a:lvl1pPr algn="ctr">
              <a:defRPr>
                <a:solidFill>
                  <a:srgbClr val="737373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0" name="Text Placeholder 11">
            <a:extLst>
              <a:ext uri="{FF2B5EF4-FFF2-40B4-BE49-F238E27FC236}">
                <a16:creationId xmlns:a16="http://schemas.microsoft.com/office/drawing/2014/main" xmlns="" id="{14FDA7B6-0CB9-4801-8BCD-C533322EEF8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>
          <a:xfrm>
            <a:off x="267018" y="3050710"/>
            <a:ext cx="3672235" cy="554326"/>
          </a:xfrm>
          <a:solidFill>
            <a:schemeClr val="tx2"/>
          </a:solidFill>
        </p:spPr>
        <p:txBody>
          <a:bodyPr lIns="72000" tIns="36000" rIns="72000" bIns="72000" anchor="ctr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1" name="Text Placeholder 11">
            <a:extLst>
              <a:ext uri="{FF2B5EF4-FFF2-40B4-BE49-F238E27FC236}">
                <a16:creationId xmlns:a16="http://schemas.microsoft.com/office/drawing/2014/main" xmlns="" id="{01E9159C-B757-487C-ACBC-90F7041B08B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>
          <a:xfrm>
            <a:off x="4259881" y="3050710"/>
            <a:ext cx="3672235" cy="554326"/>
          </a:xfrm>
          <a:solidFill>
            <a:srgbClr val="4D4D4D"/>
          </a:solidFill>
        </p:spPr>
        <p:txBody>
          <a:bodyPr lIns="72000" tIns="36000" rIns="72000" bIns="72000" anchor="ctr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2" name="Text Placeholder 11">
            <a:extLst>
              <a:ext uri="{FF2B5EF4-FFF2-40B4-BE49-F238E27FC236}">
                <a16:creationId xmlns:a16="http://schemas.microsoft.com/office/drawing/2014/main" xmlns="" id="{689B320E-7199-4B9B-BBB6-BECC119A610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 bwMode="gray">
          <a:xfrm>
            <a:off x="8252743" y="3050710"/>
            <a:ext cx="3672235" cy="554326"/>
          </a:xfrm>
          <a:solidFill>
            <a:srgbClr val="B3B3B3"/>
          </a:solidFill>
        </p:spPr>
        <p:txBody>
          <a:bodyPr lIns="72000" tIns="36000" rIns="72000" bIns="72000" anchor="ctr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7" name="Text Placeholder 11">
            <a:extLst>
              <a:ext uri="{FF2B5EF4-FFF2-40B4-BE49-F238E27FC236}">
                <a16:creationId xmlns:a16="http://schemas.microsoft.com/office/drawing/2014/main" xmlns="" id="{4C194628-5843-4993-8645-21D277A5F84B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 bwMode="gray">
          <a:xfrm>
            <a:off x="267018" y="5790912"/>
            <a:ext cx="3672235" cy="554326"/>
          </a:xfrm>
          <a:solidFill>
            <a:schemeClr val="tx2"/>
          </a:solidFill>
        </p:spPr>
        <p:txBody>
          <a:bodyPr lIns="72000" tIns="36000" rIns="72000" bIns="72000" anchor="ctr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8" name="Text Placeholder 11">
            <a:extLst>
              <a:ext uri="{FF2B5EF4-FFF2-40B4-BE49-F238E27FC236}">
                <a16:creationId xmlns:a16="http://schemas.microsoft.com/office/drawing/2014/main" xmlns="" id="{01EBD6AF-BB8D-4CD7-89EF-691423556D15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 bwMode="gray">
          <a:xfrm>
            <a:off x="4259881" y="5790912"/>
            <a:ext cx="3672235" cy="554326"/>
          </a:xfrm>
          <a:solidFill>
            <a:srgbClr val="4D4D4D"/>
          </a:solidFill>
        </p:spPr>
        <p:txBody>
          <a:bodyPr lIns="72000" tIns="36000" rIns="72000" bIns="72000" anchor="ctr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9" name="Text Placeholder 11">
            <a:extLst>
              <a:ext uri="{FF2B5EF4-FFF2-40B4-BE49-F238E27FC236}">
                <a16:creationId xmlns:a16="http://schemas.microsoft.com/office/drawing/2014/main" xmlns="" id="{DBDC85D8-AC49-4BE9-9A89-F6EADB551C65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 bwMode="gray">
          <a:xfrm>
            <a:off x="8252743" y="5790912"/>
            <a:ext cx="3672235" cy="554326"/>
          </a:xfrm>
          <a:solidFill>
            <a:srgbClr val="B3B3B3"/>
          </a:solidFill>
        </p:spPr>
        <p:txBody>
          <a:bodyPr lIns="72000" tIns="36000" rIns="72000" bIns="72000" anchor="ctr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xmlns="" id="{62076778-1C0B-4DF5-BED1-40F85B3978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4" y="187199"/>
            <a:ext cx="8856000" cy="435600"/>
          </a:xfrm>
        </p:spPr>
        <p:txBody>
          <a:bodyPr anchor="ctr">
            <a:no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890EB62C-8E21-4E54-8EEF-C68F4C6B9FFD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fld id="{C24EC536-6FE3-4540-8D85-74C58F0BF69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0" name="Footer Placeholder 5">
            <a:extLst>
              <a:ext uri="{FF2B5EF4-FFF2-40B4-BE49-F238E27FC236}">
                <a16:creationId xmlns:a16="http://schemas.microsoft.com/office/drawing/2014/main" xmlns="" id="{7E28699A-DA2D-4918-AFB2-85AA3D412F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16400" y="6433200"/>
            <a:ext cx="6123600" cy="255600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900"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2149728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D0CF477D-6C63-4F4F-9AE3-EEDFA6E93E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4" y="187199"/>
            <a:ext cx="8856000" cy="435600"/>
          </a:xfrm>
        </p:spPr>
        <p:txBody>
          <a:bodyPr anchor="ctr">
            <a:no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245B82CA-C741-4F61-8DD8-8CF4BB983BD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4EC536-6FE3-4540-8D85-74C58F0BF69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xmlns="" id="{25AA4165-D205-48C8-9745-AE16342A666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11200" y="6456794"/>
            <a:ext cx="6123600" cy="234138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900"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6221390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19C16456-FE9E-4734-9723-6DE7B04520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4EC536-6FE3-4540-8D85-74C58F0BF69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xmlns="" id="{7B611BD5-0B57-4CA8-A139-3E97653CBA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16400" y="6433200"/>
            <a:ext cx="6123600" cy="255600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900"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5914276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 - Darker Picture 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Rectangle 40">
            <a:extLst>
              <a:ext uri="{FF2B5EF4-FFF2-40B4-BE49-F238E27FC236}">
                <a16:creationId xmlns:a16="http://schemas.microsoft.com/office/drawing/2014/main" xmlns="" id="{EB87F6C0-6A0D-49A9-B92D-47AC66E82F62}"/>
              </a:ext>
            </a:extLst>
          </p:cNvPr>
          <p:cNvSpPr/>
          <p:nvPr userDrawn="1"/>
        </p:nvSpPr>
        <p:spPr>
          <a:xfrm rot="20700000">
            <a:off x="11630945" y="891479"/>
            <a:ext cx="125787" cy="6268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GB" sz="1400" dirty="0" err="1">
              <a:solidFill>
                <a:schemeClr val="tx1"/>
              </a:solidFill>
            </a:endParaRPr>
          </a:p>
        </p:txBody>
      </p:sp>
      <p:sp>
        <p:nvSpPr>
          <p:cNvPr id="48" name="Picture Placeholder 47">
            <a:extLst>
              <a:ext uri="{FF2B5EF4-FFF2-40B4-BE49-F238E27FC236}">
                <a16:creationId xmlns:a16="http://schemas.microsoft.com/office/drawing/2014/main" xmlns="" id="{7B060B46-A36B-42A8-BC2B-4D51C11E5CF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" y="4"/>
            <a:ext cx="12193196" cy="4738686"/>
          </a:xfrm>
          <a:custGeom>
            <a:avLst/>
            <a:gdLst>
              <a:gd name="connsiteX0" fmla="*/ 9943716 w 12193196"/>
              <a:gd name="connsiteY0" fmla="*/ 1018573 h 4738686"/>
              <a:gd name="connsiteX1" fmla="*/ 9943716 w 12193196"/>
              <a:gd name="connsiteY1" fmla="*/ 1018583 h 4738686"/>
              <a:gd name="connsiteX2" fmla="*/ 9972804 w 12193196"/>
              <a:gd name="connsiteY2" fmla="*/ 1068171 h 4738686"/>
              <a:gd name="connsiteX3" fmla="*/ 9944107 w 12193196"/>
              <a:gd name="connsiteY3" fmla="*/ 1122040 h 4738686"/>
              <a:gd name="connsiteX4" fmla="*/ 9914039 w 12193196"/>
              <a:gd name="connsiteY4" fmla="*/ 1079406 h 4738686"/>
              <a:gd name="connsiteX5" fmla="*/ 9914039 w 12193196"/>
              <a:gd name="connsiteY5" fmla="*/ 1067545 h 4738686"/>
              <a:gd name="connsiteX6" fmla="*/ 9943716 w 12193196"/>
              <a:gd name="connsiteY6" fmla="*/ 1018573 h 4738686"/>
              <a:gd name="connsiteX7" fmla="*/ 11408435 w 12193196"/>
              <a:gd name="connsiteY7" fmla="*/ 1012941 h 4738686"/>
              <a:gd name="connsiteX8" fmla="*/ 11434684 w 12193196"/>
              <a:gd name="connsiteY8" fmla="*/ 1041128 h 4738686"/>
              <a:gd name="connsiteX9" fmla="*/ 11379836 w 12193196"/>
              <a:gd name="connsiteY9" fmla="*/ 1041128 h 4738686"/>
              <a:gd name="connsiteX10" fmla="*/ 11408435 w 12193196"/>
              <a:gd name="connsiteY10" fmla="*/ 1012941 h 4738686"/>
              <a:gd name="connsiteX11" fmla="*/ 10350271 w 12193196"/>
              <a:gd name="connsiteY11" fmla="*/ 1012834 h 4738686"/>
              <a:gd name="connsiteX12" fmla="*/ 10376618 w 12193196"/>
              <a:gd name="connsiteY12" fmla="*/ 1041021 h 4738686"/>
              <a:gd name="connsiteX13" fmla="*/ 10321770 w 12193196"/>
              <a:gd name="connsiteY13" fmla="*/ 1041021 h 4738686"/>
              <a:gd name="connsiteX14" fmla="*/ 10350271 w 12193196"/>
              <a:gd name="connsiteY14" fmla="*/ 1012834 h 4738686"/>
              <a:gd name="connsiteX15" fmla="*/ 10912556 w 12193196"/>
              <a:gd name="connsiteY15" fmla="*/ 1012833 h 4738686"/>
              <a:gd name="connsiteX16" fmla="*/ 10938805 w 12193196"/>
              <a:gd name="connsiteY16" fmla="*/ 1041021 h 4738686"/>
              <a:gd name="connsiteX17" fmla="*/ 10883957 w 12193196"/>
              <a:gd name="connsiteY17" fmla="*/ 1041021 h 4738686"/>
              <a:gd name="connsiteX18" fmla="*/ 10912556 w 12193196"/>
              <a:gd name="connsiteY18" fmla="*/ 1012833 h 4738686"/>
              <a:gd name="connsiteX19" fmla="*/ 11605397 w 12193196"/>
              <a:gd name="connsiteY19" fmla="*/ 1000835 h 4738686"/>
              <a:gd name="connsiteX20" fmla="*/ 11568179 w 12193196"/>
              <a:gd name="connsiteY20" fmla="*/ 1043841 h 4738686"/>
              <a:gd name="connsiteX21" fmla="*/ 11535270 w 12193196"/>
              <a:gd name="connsiteY21" fmla="*/ 1000923 h 4738686"/>
              <a:gd name="connsiteX22" fmla="*/ 11476897 w 12193196"/>
              <a:gd name="connsiteY22" fmla="*/ 1000923 h 4738686"/>
              <a:gd name="connsiteX23" fmla="*/ 11476897 w 12193196"/>
              <a:gd name="connsiteY23" fmla="*/ 1011922 h 4738686"/>
              <a:gd name="connsiteX24" fmla="*/ 11479443 w 12193196"/>
              <a:gd name="connsiteY24" fmla="*/ 1012079 h 4738686"/>
              <a:gd name="connsiteX25" fmla="*/ 11516074 w 12193196"/>
              <a:gd name="connsiteY25" fmla="*/ 1033136 h 4738686"/>
              <a:gd name="connsiteX26" fmla="*/ 11539971 w 12193196"/>
              <a:gd name="connsiteY26" fmla="*/ 1064899 h 4738686"/>
              <a:gd name="connsiteX27" fmla="*/ 11500893 w 12193196"/>
              <a:gd name="connsiteY27" fmla="*/ 1110021 h 4738686"/>
              <a:gd name="connsiteX28" fmla="*/ 11541245 w 12193196"/>
              <a:gd name="connsiteY28" fmla="*/ 1110021 h 4738686"/>
              <a:gd name="connsiteX29" fmla="*/ 11558776 w 12193196"/>
              <a:gd name="connsiteY29" fmla="*/ 1089874 h 4738686"/>
              <a:gd name="connsiteX30" fmla="*/ 11596386 w 12193196"/>
              <a:gd name="connsiteY30" fmla="*/ 1139824 h 4738686"/>
              <a:gd name="connsiteX31" fmla="*/ 11641635 w 12193196"/>
              <a:gd name="connsiteY31" fmla="*/ 1139824 h 4738686"/>
              <a:gd name="connsiteX32" fmla="*/ 11569942 w 12193196"/>
              <a:gd name="connsiteY32" fmla="*/ 1046192 h 4738686"/>
              <a:gd name="connsiteX33" fmla="*/ 11606474 w 12193196"/>
              <a:gd name="connsiteY33" fmla="*/ 1046221 h 4738686"/>
              <a:gd name="connsiteX34" fmla="*/ 11645651 w 12193196"/>
              <a:gd name="connsiteY34" fmla="*/ 1000835 h 4738686"/>
              <a:gd name="connsiteX35" fmla="*/ 11409709 w 12193196"/>
              <a:gd name="connsiteY35" fmla="*/ 997750 h 4738686"/>
              <a:gd name="connsiteX36" fmla="*/ 11338211 w 12193196"/>
              <a:gd name="connsiteY36" fmla="*/ 1065684 h 4738686"/>
              <a:gd name="connsiteX37" fmla="*/ 11421168 w 12193196"/>
              <a:gd name="connsiteY37" fmla="*/ 1143008 h 4738686"/>
              <a:gd name="connsiteX38" fmla="*/ 11467788 w 12193196"/>
              <a:gd name="connsiteY38" fmla="*/ 1135231 h 4738686"/>
              <a:gd name="connsiteX39" fmla="*/ 11470041 w 12193196"/>
              <a:gd name="connsiteY39" fmla="*/ 1134527 h 4738686"/>
              <a:gd name="connsiteX40" fmla="*/ 11470041 w 12193196"/>
              <a:gd name="connsiteY40" fmla="*/ 1116084 h 4738686"/>
              <a:gd name="connsiteX41" fmla="*/ 11466417 w 12193196"/>
              <a:gd name="connsiteY41" fmla="*/ 1117376 h 4738686"/>
              <a:gd name="connsiteX42" fmla="*/ 11436545 w 12193196"/>
              <a:gd name="connsiteY42" fmla="*/ 1122088 h 4738686"/>
              <a:gd name="connsiteX43" fmla="*/ 11379738 w 12193196"/>
              <a:gd name="connsiteY43" fmla="*/ 1058034 h 4738686"/>
              <a:gd name="connsiteX44" fmla="*/ 11472979 w 12193196"/>
              <a:gd name="connsiteY44" fmla="*/ 1058034 h 4738686"/>
              <a:gd name="connsiteX45" fmla="*/ 11472979 w 12193196"/>
              <a:gd name="connsiteY45" fmla="*/ 1055330 h 4738686"/>
              <a:gd name="connsiteX46" fmla="*/ 11409709 w 12193196"/>
              <a:gd name="connsiteY46" fmla="*/ 997750 h 4738686"/>
              <a:gd name="connsiteX47" fmla="*/ 9781426 w 12193196"/>
              <a:gd name="connsiteY47" fmla="*/ 997723 h 4738686"/>
              <a:gd name="connsiteX48" fmla="*/ 9724032 w 12193196"/>
              <a:gd name="connsiteY48" fmla="*/ 1038926 h 4738686"/>
              <a:gd name="connsiteX49" fmla="*/ 9765951 w 12193196"/>
              <a:gd name="connsiteY49" fmla="*/ 1082648 h 4738686"/>
              <a:gd name="connsiteX50" fmla="*/ 9795725 w 12193196"/>
              <a:gd name="connsiteY50" fmla="*/ 1108378 h 4738686"/>
              <a:gd name="connsiteX51" fmla="*/ 9770261 w 12193196"/>
              <a:gd name="connsiteY51" fmla="*/ 1124901 h 4738686"/>
              <a:gd name="connsiteX52" fmla="*/ 9728439 w 12193196"/>
              <a:gd name="connsiteY52" fmla="*/ 1110376 h 4738686"/>
              <a:gd name="connsiteX53" fmla="*/ 9724326 w 12193196"/>
              <a:gd name="connsiteY53" fmla="*/ 1107888 h 4738686"/>
              <a:gd name="connsiteX54" fmla="*/ 9724326 w 12193196"/>
              <a:gd name="connsiteY54" fmla="*/ 1137271 h 4738686"/>
              <a:gd name="connsiteX55" fmla="*/ 9727166 w 12193196"/>
              <a:gd name="connsiteY55" fmla="*/ 1137888 h 4738686"/>
              <a:gd name="connsiteX56" fmla="*/ 9768987 w 12193196"/>
              <a:gd name="connsiteY56" fmla="*/ 1142971 h 4738686"/>
              <a:gd name="connsiteX57" fmla="*/ 9830593 w 12193196"/>
              <a:gd name="connsiteY57" fmla="*/ 1100631 h 4738686"/>
              <a:gd name="connsiteX58" fmla="*/ 9786911 w 12193196"/>
              <a:gd name="connsiteY58" fmla="*/ 1052913 h 4738686"/>
              <a:gd name="connsiteX59" fmla="*/ 9786911 w 12193196"/>
              <a:gd name="connsiteY59" fmla="*/ 1052884 h 4738686"/>
              <a:gd name="connsiteX60" fmla="*/ 9758899 w 12193196"/>
              <a:gd name="connsiteY60" fmla="*/ 1028779 h 4738686"/>
              <a:gd name="connsiteX61" fmla="*/ 9779075 w 12193196"/>
              <a:gd name="connsiteY61" fmla="*/ 1015714 h 4738686"/>
              <a:gd name="connsiteX62" fmla="*/ 9814824 w 12193196"/>
              <a:gd name="connsiteY62" fmla="*/ 1028006 h 4738686"/>
              <a:gd name="connsiteX63" fmla="*/ 9820799 w 12193196"/>
              <a:gd name="connsiteY63" fmla="*/ 1031649 h 4738686"/>
              <a:gd name="connsiteX64" fmla="*/ 9820799 w 12193196"/>
              <a:gd name="connsiteY64" fmla="*/ 1003079 h 4738686"/>
              <a:gd name="connsiteX65" fmla="*/ 9816097 w 12193196"/>
              <a:gd name="connsiteY65" fmla="*/ 1002101 h 4738686"/>
              <a:gd name="connsiteX66" fmla="*/ 9781426 w 12193196"/>
              <a:gd name="connsiteY66" fmla="*/ 997723 h 4738686"/>
              <a:gd name="connsiteX67" fmla="*/ 10913830 w 12193196"/>
              <a:gd name="connsiteY67" fmla="*/ 997682 h 4738686"/>
              <a:gd name="connsiteX68" fmla="*/ 10842430 w 12193196"/>
              <a:gd name="connsiteY68" fmla="*/ 1065566 h 4738686"/>
              <a:gd name="connsiteX69" fmla="*/ 10925289 w 12193196"/>
              <a:gd name="connsiteY69" fmla="*/ 1142940 h 4738686"/>
              <a:gd name="connsiteX70" fmla="*/ 10971909 w 12193196"/>
              <a:gd name="connsiteY70" fmla="*/ 1135104 h 4738686"/>
              <a:gd name="connsiteX71" fmla="*/ 10974162 w 12193196"/>
              <a:gd name="connsiteY71" fmla="*/ 1134399 h 4738686"/>
              <a:gd name="connsiteX72" fmla="*/ 10974162 w 12193196"/>
              <a:gd name="connsiteY72" fmla="*/ 1115976 h 4738686"/>
              <a:gd name="connsiteX73" fmla="*/ 10970538 w 12193196"/>
              <a:gd name="connsiteY73" fmla="*/ 1117289 h 4738686"/>
              <a:gd name="connsiteX74" fmla="*/ 10940666 w 12193196"/>
              <a:gd name="connsiteY74" fmla="*/ 1122000 h 4738686"/>
              <a:gd name="connsiteX75" fmla="*/ 10883957 w 12193196"/>
              <a:gd name="connsiteY75" fmla="*/ 1057926 h 4738686"/>
              <a:gd name="connsiteX76" fmla="*/ 10977100 w 12193196"/>
              <a:gd name="connsiteY76" fmla="*/ 1057926 h 4738686"/>
              <a:gd name="connsiteX77" fmla="*/ 10977100 w 12193196"/>
              <a:gd name="connsiteY77" fmla="*/ 1055242 h 4738686"/>
              <a:gd name="connsiteX78" fmla="*/ 10913830 w 12193196"/>
              <a:gd name="connsiteY78" fmla="*/ 997682 h 4738686"/>
              <a:gd name="connsiteX79" fmla="*/ 10351643 w 12193196"/>
              <a:gd name="connsiteY79" fmla="*/ 997682 h 4738686"/>
              <a:gd name="connsiteX80" fmla="*/ 10280145 w 12193196"/>
              <a:gd name="connsiteY80" fmla="*/ 1065566 h 4738686"/>
              <a:gd name="connsiteX81" fmla="*/ 10363102 w 12193196"/>
              <a:gd name="connsiteY81" fmla="*/ 1142940 h 4738686"/>
              <a:gd name="connsiteX82" fmla="*/ 10409722 w 12193196"/>
              <a:gd name="connsiteY82" fmla="*/ 1135104 h 4738686"/>
              <a:gd name="connsiteX83" fmla="*/ 10411975 w 12193196"/>
              <a:gd name="connsiteY83" fmla="*/ 1134399 h 4738686"/>
              <a:gd name="connsiteX84" fmla="*/ 10411975 w 12193196"/>
              <a:gd name="connsiteY84" fmla="*/ 1115976 h 4738686"/>
              <a:gd name="connsiteX85" fmla="*/ 10408351 w 12193196"/>
              <a:gd name="connsiteY85" fmla="*/ 1117289 h 4738686"/>
              <a:gd name="connsiteX86" fmla="*/ 10378479 w 12193196"/>
              <a:gd name="connsiteY86" fmla="*/ 1122000 h 4738686"/>
              <a:gd name="connsiteX87" fmla="*/ 10321672 w 12193196"/>
              <a:gd name="connsiteY87" fmla="*/ 1057926 h 4738686"/>
              <a:gd name="connsiteX88" fmla="*/ 10414913 w 12193196"/>
              <a:gd name="connsiteY88" fmla="*/ 1057926 h 4738686"/>
              <a:gd name="connsiteX89" fmla="*/ 10414913 w 12193196"/>
              <a:gd name="connsiteY89" fmla="*/ 1055242 h 4738686"/>
              <a:gd name="connsiteX90" fmla="*/ 10351643 w 12193196"/>
              <a:gd name="connsiteY90" fmla="*/ 997682 h 4738686"/>
              <a:gd name="connsiteX91" fmla="*/ 10104241 w 12193196"/>
              <a:gd name="connsiteY91" fmla="*/ 997212 h 4738686"/>
              <a:gd name="connsiteX92" fmla="*/ 10101107 w 12193196"/>
              <a:gd name="connsiteY92" fmla="*/ 997702 h 4738686"/>
              <a:gd name="connsiteX93" fmla="*/ 10040873 w 12193196"/>
              <a:gd name="connsiteY93" fmla="*/ 1007280 h 4738686"/>
              <a:gd name="connsiteX94" fmla="*/ 10040873 w 12193196"/>
              <a:gd name="connsiteY94" fmla="*/ 1017937 h 4738686"/>
              <a:gd name="connsiteX95" fmla="*/ 10043517 w 12193196"/>
              <a:gd name="connsiteY95" fmla="*/ 1018005 h 4738686"/>
              <a:gd name="connsiteX96" fmla="*/ 10066142 w 12193196"/>
              <a:gd name="connsiteY96" fmla="*/ 1040865 h 4738686"/>
              <a:gd name="connsiteX97" fmla="*/ 10066142 w 12193196"/>
              <a:gd name="connsiteY97" fmla="*/ 1139787 h 4738686"/>
              <a:gd name="connsiteX98" fmla="*/ 10104241 w 12193196"/>
              <a:gd name="connsiteY98" fmla="*/ 1139787 h 4738686"/>
              <a:gd name="connsiteX99" fmla="*/ 9914333 w 12193196"/>
              <a:gd name="connsiteY99" fmla="*/ 997212 h 4738686"/>
              <a:gd name="connsiteX100" fmla="*/ 9911199 w 12193196"/>
              <a:gd name="connsiteY100" fmla="*/ 997703 h 4738686"/>
              <a:gd name="connsiteX101" fmla="*/ 9850377 w 12193196"/>
              <a:gd name="connsiteY101" fmla="*/ 1007280 h 4738686"/>
              <a:gd name="connsiteX102" fmla="*/ 9850377 w 12193196"/>
              <a:gd name="connsiteY102" fmla="*/ 1017937 h 4738686"/>
              <a:gd name="connsiteX103" fmla="*/ 9853021 w 12193196"/>
              <a:gd name="connsiteY103" fmla="*/ 1018005 h 4738686"/>
              <a:gd name="connsiteX104" fmla="*/ 9875940 w 12193196"/>
              <a:gd name="connsiteY104" fmla="*/ 1040865 h 4738686"/>
              <a:gd name="connsiteX105" fmla="*/ 9875940 w 12193196"/>
              <a:gd name="connsiteY105" fmla="*/ 1198327 h 4738686"/>
              <a:gd name="connsiteX106" fmla="*/ 9914039 w 12193196"/>
              <a:gd name="connsiteY106" fmla="*/ 1198327 h 4738686"/>
              <a:gd name="connsiteX107" fmla="*/ 9914039 w 12193196"/>
              <a:gd name="connsiteY107" fmla="*/ 1126594 h 4738686"/>
              <a:gd name="connsiteX108" fmla="*/ 9953216 w 12193196"/>
              <a:gd name="connsiteY108" fmla="*/ 1142940 h 4738686"/>
              <a:gd name="connsiteX109" fmla="*/ 10014234 w 12193196"/>
              <a:gd name="connsiteY109" fmla="*/ 1068171 h 4738686"/>
              <a:gd name="connsiteX110" fmla="*/ 9954587 w 12193196"/>
              <a:gd name="connsiteY110" fmla="*/ 997654 h 4738686"/>
              <a:gd name="connsiteX111" fmla="*/ 9954587 w 12193196"/>
              <a:gd name="connsiteY111" fmla="*/ 997682 h 4738686"/>
              <a:gd name="connsiteX112" fmla="*/ 9914333 w 12193196"/>
              <a:gd name="connsiteY112" fmla="*/ 1017339 h 4738686"/>
              <a:gd name="connsiteX113" fmla="*/ 9585052 w 12193196"/>
              <a:gd name="connsiteY113" fmla="*/ 997212 h 4738686"/>
              <a:gd name="connsiteX114" fmla="*/ 9581918 w 12193196"/>
              <a:gd name="connsiteY114" fmla="*/ 997703 h 4738686"/>
              <a:gd name="connsiteX115" fmla="*/ 9520704 w 12193196"/>
              <a:gd name="connsiteY115" fmla="*/ 1007280 h 4738686"/>
              <a:gd name="connsiteX116" fmla="*/ 9520704 w 12193196"/>
              <a:gd name="connsiteY116" fmla="*/ 1017986 h 4738686"/>
              <a:gd name="connsiteX117" fmla="*/ 9523348 w 12193196"/>
              <a:gd name="connsiteY117" fmla="*/ 1017986 h 4738686"/>
              <a:gd name="connsiteX118" fmla="*/ 9546952 w 12193196"/>
              <a:gd name="connsiteY118" fmla="*/ 1040846 h 4738686"/>
              <a:gd name="connsiteX119" fmla="*/ 9546952 w 12193196"/>
              <a:gd name="connsiteY119" fmla="*/ 1139767 h 4738686"/>
              <a:gd name="connsiteX120" fmla="*/ 9585052 w 12193196"/>
              <a:gd name="connsiteY120" fmla="*/ 1139767 h 4738686"/>
              <a:gd name="connsiteX121" fmla="*/ 9585052 w 12193196"/>
              <a:gd name="connsiteY121" fmla="*/ 1066967 h 4738686"/>
              <a:gd name="connsiteX122" fmla="*/ 9622661 w 12193196"/>
              <a:gd name="connsiteY122" fmla="*/ 1022628 h 4738686"/>
              <a:gd name="connsiteX123" fmla="*/ 9641858 w 12193196"/>
              <a:gd name="connsiteY123" fmla="*/ 1062687 h 4738686"/>
              <a:gd name="connsiteX124" fmla="*/ 9641858 w 12193196"/>
              <a:gd name="connsiteY124" fmla="*/ 1139767 h 4738686"/>
              <a:gd name="connsiteX125" fmla="*/ 9680055 w 12193196"/>
              <a:gd name="connsiteY125" fmla="*/ 1139767 h 4738686"/>
              <a:gd name="connsiteX126" fmla="*/ 9680055 w 12193196"/>
              <a:gd name="connsiteY126" fmla="*/ 1040866 h 4738686"/>
              <a:gd name="connsiteX127" fmla="*/ 9637647 w 12193196"/>
              <a:gd name="connsiteY127" fmla="*/ 997682 h 4738686"/>
              <a:gd name="connsiteX128" fmla="*/ 9585052 w 12193196"/>
              <a:gd name="connsiteY128" fmla="*/ 1028230 h 4738686"/>
              <a:gd name="connsiteX129" fmla="*/ 10204730 w 12193196"/>
              <a:gd name="connsiteY129" fmla="*/ 997212 h 4738686"/>
              <a:gd name="connsiteX130" fmla="*/ 10201596 w 12193196"/>
              <a:gd name="connsiteY130" fmla="*/ 997702 h 4738686"/>
              <a:gd name="connsiteX131" fmla="*/ 10140774 w 12193196"/>
              <a:gd name="connsiteY131" fmla="*/ 1007280 h 4738686"/>
              <a:gd name="connsiteX132" fmla="*/ 10140774 w 12193196"/>
              <a:gd name="connsiteY132" fmla="*/ 1017985 h 4738686"/>
              <a:gd name="connsiteX133" fmla="*/ 10143418 w 12193196"/>
              <a:gd name="connsiteY133" fmla="*/ 1017985 h 4738686"/>
              <a:gd name="connsiteX134" fmla="*/ 10166631 w 12193196"/>
              <a:gd name="connsiteY134" fmla="*/ 1040845 h 4738686"/>
              <a:gd name="connsiteX135" fmla="*/ 10166631 w 12193196"/>
              <a:gd name="connsiteY135" fmla="*/ 1139766 h 4738686"/>
              <a:gd name="connsiteX136" fmla="*/ 10204730 w 12193196"/>
              <a:gd name="connsiteY136" fmla="*/ 1139766 h 4738686"/>
              <a:gd name="connsiteX137" fmla="*/ 10204730 w 12193196"/>
              <a:gd name="connsiteY137" fmla="*/ 1068455 h 4738686"/>
              <a:gd name="connsiteX138" fmla="*/ 10237749 w 12193196"/>
              <a:gd name="connsiteY138" fmla="*/ 1028396 h 4738686"/>
              <a:gd name="connsiteX139" fmla="*/ 10244592 w 12193196"/>
              <a:gd name="connsiteY139" fmla="*/ 1028377 h 4738686"/>
              <a:gd name="connsiteX140" fmla="*/ 10257815 w 12193196"/>
              <a:gd name="connsiteY140" fmla="*/ 1030933 h 4738686"/>
              <a:gd name="connsiteX141" fmla="*/ 10263985 w 12193196"/>
              <a:gd name="connsiteY141" fmla="*/ 1032667 h 4738686"/>
              <a:gd name="connsiteX142" fmla="*/ 10263985 w 12193196"/>
              <a:gd name="connsiteY142" fmla="*/ 1029112 h 4738686"/>
              <a:gd name="connsiteX143" fmla="*/ 10263985 w 12193196"/>
              <a:gd name="connsiteY143" fmla="*/ 999484 h 4738686"/>
              <a:gd name="connsiteX144" fmla="*/ 10261732 w 12193196"/>
              <a:gd name="connsiteY144" fmla="*/ 999141 h 4738686"/>
              <a:gd name="connsiteX145" fmla="*/ 10243613 w 12193196"/>
              <a:gd name="connsiteY145" fmla="*/ 997682 h 4738686"/>
              <a:gd name="connsiteX146" fmla="*/ 10204730 w 12193196"/>
              <a:gd name="connsiteY146" fmla="*/ 1025889 h 4738686"/>
              <a:gd name="connsiteX147" fmla="*/ 10548800 w 12193196"/>
              <a:gd name="connsiteY147" fmla="*/ 957712 h 4738686"/>
              <a:gd name="connsiteX148" fmla="*/ 10548800 w 12193196"/>
              <a:gd name="connsiteY148" fmla="*/ 1000943 h 4738686"/>
              <a:gd name="connsiteX149" fmla="*/ 10523237 w 12193196"/>
              <a:gd name="connsiteY149" fmla="*/ 1000943 h 4738686"/>
              <a:gd name="connsiteX150" fmla="*/ 10523237 w 12193196"/>
              <a:gd name="connsiteY150" fmla="*/ 1017828 h 4738686"/>
              <a:gd name="connsiteX151" fmla="*/ 10548800 w 12193196"/>
              <a:gd name="connsiteY151" fmla="*/ 1017828 h 4738686"/>
              <a:gd name="connsiteX152" fmla="*/ 10548800 w 12193196"/>
              <a:gd name="connsiteY152" fmla="*/ 1103283 h 4738686"/>
              <a:gd name="connsiteX153" fmla="*/ 10601199 w 12193196"/>
              <a:gd name="connsiteY153" fmla="*/ 1143028 h 4738686"/>
              <a:gd name="connsiteX154" fmla="*/ 10623627 w 12193196"/>
              <a:gd name="connsiteY154" fmla="*/ 1140697 h 4738686"/>
              <a:gd name="connsiteX155" fmla="*/ 10625880 w 12193196"/>
              <a:gd name="connsiteY155" fmla="*/ 1140364 h 4738686"/>
              <a:gd name="connsiteX156" fmla="*/ 10625880 w 12193196"/>
              <a:gd name="connsiteY156" fmla="*/ 1123146 h 4738686"/>
              <a:gd name="connsiteX157" fmla="*/ 10622648 w 12193196"/>
              <a:gd name="connsiteY157" fmla="*/ 1123880 h 4738686"/>
              <a:gd name="connsiteX158" fmla="*/ 10611091 w 12193196"/>
              <a:gd name="connsiteY158" fmla="*/ 1124977 h 4738686"/>
              <a:gd name="connsiteX159" fmla="*/ 10586899 w 12193196"/>
              <a:gd name="connsiteY159" fmla="*/ 1098690 h 4738686"/>
              <a:gd name="connsiteX160" fmla="*/ 10586899 w 12193196"/>
              <a:gd name="connsiteY160" fmla="*/ 1017809 h 4738686"/>
              <a:gd name="connsiteX161" fmla="*/ 10629798 w 12193196"/>
              <a:gd name="connsiteY161" fmla="*/ 1017809 h 4738686"/>
              <a:gd name="connsiteX162" fmla="*/ 10629798 w 12193196"/>
              <a:gd name="connsiteY162" fmla="*/ 1000923 h 4738686"/>
              <a:gd name="connsiteX163" fmla="*/ 10586899 w 12193196"/>
              <a:gd name="connsiteY163" fmla="*/ 1000923 h 4738686"/>
              <a:gd name="connsiteX164" fmla="*/ 10586899 w 12193196"/>
              <a:gd name="connsiteY164" fmla="*/ 957712 h 4738686"/>
              <a:gd name="connsiteX165" fmla="*/ 11683359 w 12193196"/>
              <a:gd name="connsiteY165" fmla="*/ 957623 h 4738686"/>
              <a:gd name="connsiteX166" fmla="*/ 11683359 w 12193196"/>
              <a:gd name="connsiteY166" fmla="*/ 1000923 h 4738686"/>
              <a:gd name="connsiteX167" fmla="*/ 11657796 w 12193196"/>
              <a:gd name="connsiteY167" fmla="*/ 1000923 h 4738686"/>
              <a:gd name="connsiteX168" fmla="*/ 11657796 w 12193196"/>
              <a:gd name="connsiteY168" fmla="*/ 1017808 h 4738686"/>
              <a:gd name="connsiteX169" fmla="*/ 11683359 w 12193196"/>
              <a:gd name="connsiteY169" fmla="*/ 1017808 h 4738686"/>
              <a:gd name="connsiteX170" fmla="*/ 11683359 w 12193196"/>
              <a:gd name="connsiteY170" fmla="*/ 1103263 h 4738686"/>
              <a:gd name="connsiteX171" fmla="*/ 11735758 w 12193196"/>
              <a:gd name="connsiteY171" fmla="*/ 1143007 h 4738686"/>
              <a:gd name="connsiteX172" fmla="*/ 11758089 w 12193196"/>
              <a:gd name="connsiteY172" fmla="*/ 1140676 h 4738686"/>
              <a:gd name="connsiteX173" fmla="*/ 11760439 w 12193196"/>
              <a:gd name="connsiteY173" fmla="*/ 1140343 h 4738686"/>
              <a:gd name="connsiteX174" fmla="*/ 11760439 w 12193196"/>
              <a:gd name="connsiteY174" fmla="*/ 1123145 h 4738686"/>
              <a:gd name="connsiteX175" fmla="*/ 11757109 w 12193196"/>
              <a:gd name="connsiteY175" fmla="*/ 1123879 h 4738686"/>
              <a:gd name="connsiteX176" fmla="*/ 11745650 w 12193196"/>
              <a:gd name="connsiteY176" fmla="*/ 1124976 h 4738686"/>
              <a:gd name="connsiteX177" fmla="*/ 11721458 w 12193196"/>
              <a:gd name="connsiteY177" fmla="*/ 1098689 h 4738686"/>
              <a:gd name="connsiteX178" fmla="*/ 11721458 w 12193196"/>
              <a:gd name="connsiteY178" fmla="*/ 1017808 h 4738686"/>
              <a:gd name="connsiteX179" fmla="*/ 11764357 w 12193196"/>
              <a:gd name="connsiteY179" fmla="*/ 1017808 h 4738686"/>
              <a:gd name="connsiteX180" fmla="*/ 11764357 w 12193196"/>
              <a:gd name="connsiteY180" fmla="*/ 1000923 h 4738686"/>
              <a:gd name="connsiteX181" fmla="*/ 11721458 w 12193196"/>
              <a:gd name="connsiteY181" fmla="*/ 1000923 h 4738686"/>
              <a:gd name="connsiteX182" fmla="*/ 11721458 w 12193196"/>
              <a:gd name="connsiteY182" fmla="*/ 957623 h 4738686"/>
              <a:gd name="connsiteX183" fmla="*/ 11073573 w 12193196"/>
              <a:gd name="connsiteY183" fmla="*/ 941062 h 4738686"/>
              <a:gd name="connsiteX184" fmla="*/ 11073573 w 12193196"/>
              <a:gd name="connsiteY184" fmla="*/ 952413 h 4738686"/>
              <a:gd name="connsiteX185" fmla="*/ 11081212 w 12193196"/>
              <a:gd name="connsiteY185" fmla="*/ 953686 h 4738686"/>
              <a:gd name="connsiteX186" fmla="*/ 11106384 w 12193196"/>
              <a:gd name="connsiteY186" fmla="*/ 980541 h 4738686"/>
              <a:gd name="connsiteX187" fmla="*/ 11106384 w 12193196"/>
              <a:gd name="connsiteY187" fmla="*/ 1139765 h 4738686"/>
              <a:gd name="connsiteX188" fmla="*/ 11147323 w 12193196"/>
              <a:gd name="connsiteY188" fmla="*/ 1139765 h 4738686"/>
              <a:gd name="connsiteX189" fmla="*/ 11147323 w 12193196"/>
              <a:gd name="connsiteY189" fmla="*/ 981708 h 4738686"/>
              <a:gd name="connsiteX190" fmla="*/ 11251827 w 12193196"/>
              <a:gd name="connsiteY190" fmla="*/ 1139765 h 4738686"/>
              <a:gd name="connsiteX191" fmla="*/ 11302267 w 12193196"/>
              <a:gd name="connsiteY191" fmla="*/ 1139765 h 4738686"/>
              <a:gd name="connsiteX192" fmla="*/ 11302267 w 12193196"/>
              <a:gd name="connsiteY192" fmla="*/ 941062 h 4738686"/>
              <a:gd name="connsiteX193" fmla="*/ 11299623 w 12193196"/>
              <a:gd name="connsiteY193" fmla="*/ 941062 h 4738686"/>
              <a:gd name="connsiteX194" fmla="*/ 11261328 w 12193196"/>
              <a:gd name="connsiteY194" fmla="*/ 941062 h 4738686"/>
              <a:gd name="connsiteX195" fmla="*/ 11261328 w 12193196"/>
              <a:gd name="connsiteY195" fmla="*/ 1091990 h 4738686"/>
              <a:gd name="connsiteX196" fmla="*/ 11161721 w 12193196"/>
              <a:gd name="connsiteY196" fmla="*/ 941062 h 4738686"/>
              <a:gd name="connsiteX197" fmla="*/ 10085829 w 12193196"/>
              <a:gd name="connsiteY197" fmla="*/ 939103 h 4738686"/>
              <a:gd name="connsiteX198" fmla="*/ 10062691 w 12193196"/>
              <a:gd name="connsiteY198" fmla="*/ 957273 h 4738686"/>
              <a:gd name="connsiteX199" fmla="*/ 10080861 w 12193196"/>
              <a:gd name="connsiteY199" fmla="*/ 980411 h 4738686"/>
              <a:gd name="connsiteX200" fmla="*/ 10085535 w 12193196"/>
              <a:gd name="connsiteY200" fmla="*/ 980444 h 4738686"/>
              <a:gd name="connsiteX201" fmla="*/ 10085535 w 12193196"/>
              <a:gd name="connsiteY201" fmla="*/ 980415 h 4738686"/>
              <a:gd name="connsiteX202" fmla="*/ 10109531 w 12193196"/>
              <a:gd name="connsiteY202" fmla="*/ 959583 h 4738686"/>
              <a:gd name="connsiteX203" fmla="*/ 10085829 w 12193196"/>
              <a:gd name="connsiteY203" fmla="*/ 939103 h 4738686"/>
              <a:gd name="connsiteX204" fmla="*/ 9480646 w 12193196"/>
              <a:gd name="connsiteY204" fmla="*/ 937655 h 4738686"/>
              <a:gd name="connsiteX205" fmla="*/ 9477708 w 12193196"/>
              <a:gd name="connsiteY205" fmla="*/ 937919 h 4738686"/>
              <a:gd name="connsiteX206" fmla="*/ 9402293 w 12193196"/>
              <a:gd name="connsiteY206" fmla="*/ 944775 h 4738686"/>
              <a:gd name="connsiteX207" fmla="*/ 9402293 w 12193196"/>
              <a:gd name="connsiteY207" fmla="*/ 955931 h 4738686"/>
              <a:gd name="connsiteX208" fmla="*/ 9404644 w 12193196"/>
              <a:gd name="connsiteY208" fmla="*/ 956225 h 4738686"/>
              <a:gd name="connsiteX209" fmla="*/ 9435006 w 12193196"/>
              <a:gd name="connsiteY209" fmla="*/ 981690 h 4738686"/>
              <a:gd name="connsiteX210" fmla="*/ 9435006 w 12193196"/>
              <a:gd name="connsiteY210" fmla="*/ 1139748 h 4738686"/>
              <a:gd name="connsiteX211" fmla="*/ 9480646 w 12193196"/>
              <a:gd name="connsiteY211" fmla="*/ 1139748 h 4738686"/>
              <a:gd name="connsiteX212" fmla="*/ 10710404 w 12193196"/>
              <a:gd name="connsiteY212" fmla="*/ 932962 h 4738686"/>
              <a:gd name="connsiteX213" fmla="*/ 10707368 w 12193196"/>
              <a:gd name="connsiteY213" fmla="*/ 933364 h 4738686"/>
              <a:gd name="connsiteX214" fmla="*/ 10646644 w 12193196"/>
              <a:gd name="connsiteY214" fmla="*/ 940827 h 4738686"/>
              <a:gd name="connsiteX215" fmla="*/ 10646644 w 12193196"/>
              <a:gd name="connsiteY215" fmla="*/ 951600 h 4738686"/>
              <a:gd name="connsiteX216" fmla="*/ 10649288 w 12193196"/>
              <a:gd name="connsiteY216" fmla="*/ 951688 h 4738686"/>
              <a:gd name="connsiteX217" fmla="*/ 10672207 w 12193196"/>
              <a:gd name="connsiteY217" fmla="*/ 975146 h 4738686"/>
              <a:gd name="connsiteX218" fmla="*/ 10672207 w 12193196"/>
              <a:gd name="connsiteY218" fmla="*/ 1139766 h 4738686"/>
              <a:gd name="connsiteX219" fmla="*/ 10710404 w 12193196"/>
              <a:gd name="connsiteY219" fmla="*/ 1139766 h 4738686"/>
              <a:gd name="connsiteX220" fmla="*/ 10710404 w 12193196"/>
              <a:gd name="connsiteY220" fmla="*/ 1068719 h 4738686"/>
              <a:gd name="connsiteX221" fmla="*/ 10746251 w 12193196"/>
              <a:gd name="connsiteY221" fmla="*/ 1022628 h 4738686"/>
              <a:gd name="connsiteX222" fmla="*/ 10767504 w 12193196"/>
              <a:gd name="connsiteY222" fmla="*/ 1052657 h 4738686"/>
              <a:gd name="connsiteX223" fmla="*/ 10767504 w 12193196"/>
              <a:gd name="connsiteY223" fmla="*/ 1139766 h 4738686"/>
              <a:gd name="connsiteX224" fmla="*/ 10805604 w 12193196"/>
              <a:gd name="connsiteY224" fmla="*/ 1139766 h 4738686"/>
              <a:gd name="connsiteX225" fmla="*/ 10805604 w 12193196"/>
              <a:gd name="connsiteY225" fmla="*/ 1048347 h 4738686"/>
              <a:gd name="connsiteX226" fmla="*/ 10762705 w 12193196"/>
              <a:gd name="connsiteY226" fmla="*/ 997682 h 4738686"/>
              <a:gd name="connsiteX227" fmla="*/ 10710404 w 12193196"/>
              <a:gd name="connsiteY227" fmla="*/ 1028093 h 4738686"/>
              <a:gd name="connsiteX228" fmla="*/ 11691292 w 12193196"/>
              <a:gd name="connsiteY228" fmla="*/ 901218 h 4738686"/>
              <a:gd name="connsiteX229" fmla="*/ 11642419 w 12193196"/>
              <a:gd name="connsiteY229" fmla="*/ 957691 h 4738686"/>
              <a:gd name="connsiteX230" fmla="*/ 11682771 w 12193196"/>
              <a:gd name="connsiteY230" fmla="*/ 957691 h 4738686"/>
              <a:gd name="connsiteX231" fmla="*/ 11731644 w 12193196"/>
              <a:gd name="connsiteY231" fmla="*/ 901218 h 4738686"/>
              <a:gd name="connsiteX232" fmla="*/ 10547331 w 12193196"/>
              <a:gd name="connsiteY232" fmla="*/ 583241 h 4738686"/>
              <a:gd name="connsiteX233" fmla="*/ 10606292 w 12193196"/>
              <a:gd name="connsiteY233" fmla="*/ 728608 h 4738686"/>
              <a:gd name="connsiteX234" fmla="*/ 10488370 w 12193196"/>
              <a:gd name="connsiteY234" fmla="*/ 728608 h 4738686"/>
              <a:gd name="connsiteX235" fmla="*/ 11138508 w 12193196"/>
              <a:gd name="connsiteY235" fmla="*/ 528864 h 4738686"/>
              <a:gd name="connsiteX236" fmla="*/ 11138508 w 12193196"/>
              <a:gd name="connsiteY236" fmla="*/ 848508 h 4738686"/>
              <a:gd name="connsiteX237" fmla="*/ 11223130 w 12193196"/>
              <a:gd name="connsiteY237" fmla="*/ 848508 h 4738686"/>
              <a:gd name="connsiteX238" fmla="*/ 11223130 w 12193196"/>
              <a:gd name="connsiteY238" fmla="*/ 707844 h 4738686"/>
              <a:gd name="connsiteX239" fmla="*/ 11394136 w 12193196"/>
              <a:gd name="connsiteY239" fmla="*/ 707844 h 4738686"/>
              <a:gd name="connsiteX240" fmla="*/ 11394136 w 12193196"/>
              <a:gd name="connsiteY240" fmla="*/ 848508 h 4738686"/>
              <a:gd name="connsiteX241" fmla="*/ 11478856 w 12193196"/>
              <a:gd name="connsiteY241" fmla="*/ 848508 h 4738686"/>
              <a:gd name="connsiteX242" fmla="*/ 11478856 w 12193196"/>
              <a:gd name="connsiteY242" fmla="*/ 528864 h 4738686"/>
              <a:gd name="connsiteX243" fmla="*/ 11394136 w 12193196"/>
              <a:gd name="connsiteY243" fmla="*/ 528864 h 4738686"/>
              <a:gd name="connsiteX244" fmla="*/ 11394136 w 12193196"/>
              <a:gd name="connsiteY244" fmla="*/ 656678 h 4738686"/>
              <a:gd name="connsiteX245" fmla="*/ 11223130 w 12193196"/>
              <a:gd name="connsiteY245" fmla="*/ 656678 h 4738686"/>
              <a:gd name="connsiteX246" fmla="*/ 11223130 w 12193196"/>
              <a:gd name="connsiteY246" fmla="*/ 528864 h 4738686"/>
              <a:gd name="connsiteX247" fmla="*/ 10075937 w 12193196"/>
              <a:gd name="connsiteY247" fmla="*/ 528864 h 4738686"/>
              <a:gd name="connsiteX248" fmla="*/ 10075937 w 12193196"/>
              <a:gd name="connsiteY248" fmla="*/ 583241 h 4738686"/>
              <a:gd name="connsiteX249" fmla="*/ 10205416 w 12193196"/>
              <a:gd name="connsiteY249" fmla="*/ 583241 h 4738686"/>
              <a:gd name="connsiteX250" fmla="*/ 10205416 w 12193196"/>
              <a:gd name="connsiteY250" fmla="*/ 848508 h 4738686"/>
              <a:gd name="connsiteX251" fmla="*/ 10290038 w 12193196"/>
              <a:gd name="connsiteY251" fmla="*/ 848508 h 4738686"/>
              <a:gd name="connsiteX252" fmla="*/ 10290038 w 12193196"/>
              <a:gd name="connsiteY252" fmla="*/ 583241 h 4738686"/>
              <a:gd name="connsiteX253" fmla="*/ 10419517 w 12193196"/>
              <a:gd name="connsiteY253" fmla="*/ 583241 h 4738686"/>
              <a:gd name="connsiteX254" fmla="*/ 10419517 w 12193196"/>
              <a:gd name="connsiteY254" fmla="*/ 528864 h 4738686"/>
              <a:gd name="connsiteX255" fmla="*/ 10075937 w 12193196"/>
              <a:gd name="connsiteY255" fmla="*/ 528864 h 4738686"/>
              <a:gd name="connsiteX256" fmla="*/ 10495421 w 12193196"/>
              <a:gd name="connsiteY256" fmla="*/ 528864 h 4738686"/>
              <a:gd name="connsiteX257" fmla="*/ 10346060 w 12193196"/>
              <a:gd name="connsiteY257" fmla="*/ 848508 h 4738686"/>
              <a:gd name="connsiteX258" fmla="*/ 10440280 w 12193196"/>
              <a:gd name="connsiteY258" fmla="*/ 848508 h 4738686"/>
              <a:gd name="connsiteX259" fmla="*/ 10467998 w 12193196"/>
              <a:gd name="connsiteY259" fmla="*/ 779773 h 4738686"/>
              <a:gd name="connsiteX260" fmla="*/ 10626663 w 12193196"/>
              <a:gd name="connsiteY260" fmla="*/ 779773 h 4738686"/>
              <a:gd name="connsiteX261" fmla="*/ 10654381 w 12193196"/>
              <a:gd name="connsiteY261" fmla="*/ 848508 h 4738686"/>
              <a:gd name="connsiteX262" fmla="*/ 10748699 w 12193196"/>
              <a:gd name="connsiteY262" fmla="*/ 848508 h 4738686"/>
              <a:gd name="connsiteX263" fmla="*/ 10599240 w 12193196"/>
              <a:gd name="connsiteY263" fmla="*/ 528864 h 4738686"/>
              <a:gd name="connsiteX264" fmla="*/ 10495421 w 12193196"/>
              <a:gd name="connsiteY264" fmla="*/ 528864 h 4738686"/>
              <a:gd name="connsiteX265" fmla="*/ 11545848 w 12193196"/>
              <a:gd name="connsiteY265" fmla="*/ 528864 h 4738686"/>
              <a:gd name="connsiteX266" fmla="*/ 11545848 w 12193196"/>
              <a:gd name="connsiteY266" fmla="*/ 848508 h 4738686"/>
              <a:gd name="connsiteX267" fmla="*/ 11630666 w 12193196"/>
              <a:gd name="connsiteY267" fmla="*/ 848508 h 4738686"/>
              <a:gd name="connsiteX268" fmla="*/ 11630666 w 12193196"/>
              <a:gd name="connsiteY268" fmla="*/ 528864 h 4738686"/>
              <a:gd name="connsiteX269" fmla="*/ 9553515 w 12193196"/>
              <a:gd name="connsiteY269" fmla="*/ 528864 h 4738686"/>
              <a:gd name="connsiteX270" fmla="*/ 9553515 w 12193196"/>
              <a:gd name="connsiteY270" fmla="*/ 848508 h 4738686"/>
              <a:gd name="connsiteX271" fmla="*/ 9638235 w 12193196"/>
              <a:gd name="connsiteY271" fmla="*/ 848508 h 4738686"/>
              <a:gd name="connsiteX272" fmla="*/ 9638235 w 12193196"/>
              <a:gd name="connsiteY272" fmla="*/ 707844 h 4738686"/>
              <a:gd name="connsiteX273" fmla="*/ 9809143 w 12193196"/>
              <a:gd name="connsiteY273" fmla="*/ 707844 h 4738686"/>
              <a:gd name="connsiteX274" fmla="*/ 9809143 w 12193196"/>
              <a:gd name="connsiteY274" fmla="*/ 848508 h 4738686"/>
              <a:gd name="connsiteX275" fmla="*/ 9893863 w 12193196"/>
              <a:gd name="connsiteY275" fmla="*/ 848508 h 4738686"/>
              <a:gd name="connsiteX276" fmla="*/ 9893863 w 12193196"/>
              <a:gd name="connsiteY276" fmla="*/ 528864 h 4738686"/>
              <a:gd name="connsiteX277" fmla="*/ 9809143 w 12193196"/>
              <a:gd name="connsiteY277" fmla="*/ 528864 h 4738686"/>
              <a:gd name="connsiteX278" fmla="*/ 9809143 w 12193196"/>
              <a:gd name="connsiteY278" fmla="*/ 656678 h 4738686"/>
              <a:gd name="connsiteX279" fmla="*/ 9638235 w 12193196"/>
              <a:gd name="connsiteY279" fmla="*/ 656678 h 4738686"/>
              <a:gd name="connsiteX280" fmla="*/ 9638235 w 12193196"/>
              <a:gd name="connsiteY280" fmla="*/ 528864 h 4738686"/>
              <a:gd name="connsiteX281" fmla="*/ 9960953 w 12193196"/>
              <a:gd name="connsiteY281" fmla="*/ 528864 h 4738686"/>
              <a:gd name="connsiteX282" fmla="*/ 9960953 w 12193196"/>
              <a:gd name="connsiteY282" fmla="*/ 848508 h 4738686"/>
              <a:gd name="connsiteX283" fmla="*/ 10045673 w 12193196"/>
              <a:gd name="connsiteY283" fmla="*/ 848508 h 4738686"/>
              <a:gd name="connsiteX284" fmla="*/ 10045673 w 12193196"/>
              <a:gd name="connsiteY284" fmla="*/ 528864 h 4738686"/>
              <a:gd name="connsiteX285" fmla="*/ 10929795 w 12193196"/>
              <a:gd name="connsiteY285" fmla="*/ 520972 h 4738686"/>
              <a:gd name="connsiteX286" fmla="*/ 10828914 w 12193196"/>
              <a:gd name="connsiteY286" fmla="*/ 537904 h 4738686"/>
              <a:gd name="connsiteX287" fmla="*/ 10756241 w 12193196"/>
              <a:gd name="connsiteY287" fmla="*/ 598756 h 4738686"/>
              <a:gd name="connsiteX288" fmla="*/ 10734302 w 12193196"/>
              <a:gd name="connsiteY288" fmla="*/ 691800 h 4738686"/>
              <a:gd name="connsiteX289" fmla="*/ 10745663 w 12193196"/>
              <a:gd name="connsiteY289" fmla="*/ 759871 h 4738686"/>
              <a:gd name="connsiteX290" fmla="*/ 10745663 w 12193196"/>
              <a:gd name="connsiteY290" fmla="*/ 759880 h 4738686"/>
              <a:gd name="connsiteX291" fmla="*/ 10836847 w 12193196"/>
              <a:gd name="connsiteY291" fmla="*/ 843130 h 4738686"/>
              <a:gd name="connsiteX292" fmla="*/ 10922840 w 12193196"/>
              <a:gd name="connsiteY292" fmla="*/ 856372 h 4738686"/>
              <a:gd name="connsiteX293" fmla="*/ 11031654 w 12193196"/>
              <a:gd name="connsiteY293" fmla="*/ 834140 h 4738686"/>
              <a:gd name="connsiteX294" fmla="*/ 11090810 w 12193196"/>
              <a:gd name="connsiteY294" fmla="*/ 763621 h 4738686"/>
              <a:gd name="connsiteX295" fmla="*/ 11095120 w 12193196"/>
              <a:gd name="connsiteY295" fmla="*/ 733318 h 4738686"/>
              <a:gd name="connsiteX296" fmla="*/ 11005895 w 12193196"/>
              <a:gd name="connsiteY296" fmla="*/ 733318 h 4738686"/>
              <a:gd name="connsiteX297" fmla="*/ 10998941 w 12193196"/>
              <a:gd name="connsiteY297" fmla="*/ 767598 h 4738686"/>
              <a:gd name="connsiteX298" fmla="*/ 10961919 w 12193196"/>
              <a:gd name="connsiteY298" fmla="*/ 800790 h 4738686"/>
              <a:gd name="connsiteX299" fmla="*/ 10922840 w 12193196"/>
              <a:gd name="connsiteY299" fmla="*/ 806873 h 4738686"/>
              <a:gd name="connsiteX300" fmla="*/ 10877395 w 12193196"/>
              <a:gd name="connsiteY300" fmla="*/ 798460 h 4738686"/>
              <a:gd name="connsiteX301" fmla="*/ 10831167 w 12193196"/>
              <a:gd name="connsiteY301" fmla="*/ 748009 h 4738686"/>
              <a:gd name="connsiteX302" fmla="*/ 10823037 w 12193196"/>
              <a:gd name="connsiteY302" fmla="*/ 691820 h 4738686"/>
              <a:gd name="connsiteX303" fmla="*/ 10834595 w 12193196"/>
              <a:gd name="connsiteY303" fmla="*/ 624553 h 4738686"/>
              <a:gd name="connsiteX304" fmla="*/ 10880921 w 12193196"/>
              <a:gd name="connsiteY304" fmla="*/ 577649 h 4738686"/>
              <a:gd name="connsiteX305" fmla="*/ 10922840 w 12193196"/>
              <a:gd name="connsiteY305" fmla="*/ 570431 h 4738686"/>
              <a:gd name="connsiteX306" fmla="*/ 10959862 w 12193196"/>
              <a:gd name="connsiteY306" fmla="*/ 575964 h 4738686"/>
              <a:gd name="connsiteX307" fmla="*/ 10999627 w 12193196"/>
              <a:gd name="connsiteY307" fmla="*/ 612928 h 4738686"/>
              <a:gd name="connsiteX308" fmla="*/ 11004230 w 12193196"/>
              <a:gd name="connsiteY308" fmla="*/ 637521 h 4738686"/>
              <a:gd name="connsiteX309" fmla="*/ 11093063 w 12193196"/>
              <a:gd name="connsiteY309" fmla="*/ 637521 h 4738686"/>
              <a:gd name="connsiteX310" fmla="*/ 11090027 w 12193196"/>
              <a:gd name="connsiteY310" fmla="*/ 617276 h 4738686"/>
              <a:gd name="connsiteX311" fmla="*/ 11029597 w 12193196"/>
              <a:gd name="connsiteY311" fmla="*/ 543409 h 4738686"/>
              <a:gd name="connsiteX312" fmla="*/ 10929795 w 12193196"/>
              <a:gd name="connsiteY312" fmla="*/ 520972 h 4738686"/>
              <a:gd name="connsiteX313" fmla="*/ 0 w 12193196"/>
              <a:gd name="connsiteY313" fmla="*/ 0 h 4738686"/>
              <a:gd name="connsiteX314" fmla="*/ 12193196 w 12193196"/>
              <a:gd name="connsiteY314" fmla="*/ 0 h 4738686"/>
              <a:gd name="connsiteX315" fmla="*/ 12193196 w 12193196"/>
              <a:gd name="connsiteY315" fmla="*/ 4738686 h 4738686"/>
              <a:gd name="connsiteX316" fmla="*/ 0 w 12193196"/>
              <a:gd name="connsiteY316" fmla="*/ 4738686 h 4738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</a:cxnLst>
            <a:rect l="l" t="t" r="r" b="b"/>
            <a:pathLst>
              <a:path w="12193196" h="4738686">
                <a:moveTo>
                  <a:pt x="9943716" y="1018573"/>
                </a:moveTo>
                <a:lnTo>
                  <a:pt x="9943716" y="1018583"/>
                </a:lnTo>
                <a:cubicBezTo>
                  <a:pt x="9969768" y="1018583"/>
                  <a:pt x="9972804" y="1046888"/>
                  <a:pt x="9972804" y="1068171"/>
                </a:cubicBezTo>
                <a:cubicBezTo>
                  <a:pt x="9972804" y="1104410"/>
                  <a:pt x="9963402" y="1122040"/>
                  <a:pt x="9944107" y="1122040"/>
                </a:cubicBezTo>
                <a:cubicBezTo>
                  <a:pt x="9919230" y="1122040"/>
                  <a:pt x="9914039" y="1098847"/>
                  <a:pt x="9914039" y="1079406"/>
                </a:cubicBezTo>
                <a:lnTo>
                  <a:pt x="9914039" y="1067545"/>
                </a:lnTo>
                <a:cubicBezTo>
                  <a:pt x="9914039" y="1052854"/>
                  <a:pt x="9916977" y="1018573"/>
                  <a:pt x="9943716" y="1018573"/>
                </a:cubicBezTo>
                <a:close/>
                <a:moveTo>
                  <a:pt x="11408435" y="1012941"/>
                </a:moveTo>
                <a:cubicBezTo>
                  <a:pt x="11428807" y="1012941"/>
                  <a:pt x="11434096" y="1027633"/>
                  <a:pt x="11434684" y="1041128"/>
                </a:cubicBezTo>
                <a:lnTo>
                  <a:pt x="11379836" y="1041128"/>
                </a:lnTo>
                <a:cubicBezTo>
                  <a:pt x="11380159" y="1025534"/>
                  <a:pt x="11392843" y="1013033"/>
                  <a:pt x="11408435" y="1012941"/>
                </a:cubicBezTo>
                <a:close/>
                <a:moveTo>
                  <a:pt x="10350271" y="1012834"/>
                </a:moveTo>
                <a:cubicBezTo>
                  <a:pt x="10370741" y="1012834"/>
                  <a:pt x="10376030" y="1027584"/>
                  <a:pt x="10376618" y="1041021"/>
                </a:cubicBezTo>
                <a:lnTo>
                  <a:pt x="10321770" y="1041021"/>
                </a:lnTo>
                <a:cubicBezTo>
                  <a:pt x="10322093" y="1025467"/>
                  <a:pt x="10334714" y="1012983"/>
                  <a:pt x="10350271" y="1012834"/>
                </a:cubicBezTo>
                <a:close/>
                <a:moveTo>
                  <a:pt x="10912556" y="1012833"/>
                </a:moveTo>
                <a:cubicBezTo>
                  <a:pt x="10933026" y="1012833"/>
                  <a:pt x="10938217" y="1027584"/>
                  <a:pt x="10938805" y="1041021"/>
                </a:cubicBezTo>
                <a:lnTo>
                  <a:pt x="10883957" y="1041021"/>
                </a:lnTo>
                <a:cubicBezTo>
                  <a:pt x="10884290" y="1025434"/>
                  <a:pt x="10896964" y="1012941"/>
                  <a:pt x="10912556" y="1012833"/>
                </a:cubicBezTo>
                <a:close/>
                <a:moveTo>
                  <a:pt x="11605397" y="1000835"/>
                </a:moveTo>
                <a:lnTo>
                  <a:pt x="11568179" y="1043841"/>
                </a:lnTo>
                <a:lnTo>
                  <a:pt x="11535270" y="1000923"/>
                </a:lnTo>
                <a:lnTo>
                  <a:pt x="11476897" y="1000923"/>
                </a:lnTo>
                <a:lnTo>
                  <a:pt x="11476897" y="1011922"/>
                </a:lnTo>
                <a:lnTo>
                  <a:pt x="11479443" y="1012079"/>
                </a:lnTo>
                <a:cubicBezTo>
                  <a:pt x="11499326" y="1013430"/>
                  <a:pt x="11503831" y="1016976"/>
                  <a:pt x="11516074" y="1033136"/>
                </a:cubicBezTo>
                <a:lnTo>
                  <a:pt x="11539971" y="1064899"/>
                </a:lnTo>
                <a:lnTo>
                  <a:pt x="11500893" y="1110021"/>
                </a:lnTo>
                <a:lnTo>
                  <a:pt x="11541245" y="1110021"/>
                </a:lnTo>
                <a:lnTo>
                  <a:pt x="11558776" y="1089874"/>
                </a:lnTo>
                <a:lnTo>
                  <a:pt x="11596386" y="1139824"/>
                </a:lnTo>
                <a:lnTo>
                  <a:pt x="11641635" y="1139824"/>
                </a:lnTo>
                <a:lnTo>
                  <a:pt x="11569942" y="1046192"/>
                </a:lnTo>
                <a:lnTo>
                  <a:pt x="11606474" y="1046221"/>
                </a:lnTo>
                <a:lnTo>
                  <a:pt x="11645651" y="1000835"/>
                </a:lnTo>
                <a:close/>
                <a:moveTo>
                  <a:pt x="11409709" y="997750"/>
                </a:moveTo>
                <a:cubicBezTo>
                  <a:pt x="11362305" y="997750"/>
                  <a:pt x="11338211" y="1020600"/>
                  <a:pt x="11338211" y="1065684"/>
                </a:cubicBezTo>
                <a:cubicBezTo>
                  <a:pt x="11338211" y="1114066"/>
                  <a:pt x="11369259" y="1143008"/>
                  <a:pt x="11421168" y="1143008"/>
                </a:cubicBezTo>
                <a:cubicBezTo>
                  <a:pt x="11437024" y="1142934"/>
                  <a:pt x="11452764" y="1140308"/>
                  <a:pt x="11467788" y="1135231"/>
                </a:cubicBezTo>
                <a:lnTo>
                  <a:pt x="11470041" y="1134527"/>
                </a:lnTo>
                <a:lnTo>
                  <a:pt x="11470041" y="1116084"/>
                </a:lnTo>
                <a:lnTo>
                  <a:pt x="11466417" y="1117376"/>
                </a:lnTo>
                <a:cubicBezTo>
                  <a:pt x="11456779" y="1120531"/>
                  <a:pt x="11446691" y="1122122"/>
                  <a:pt x="11436545" y="1122088"/>
                </a:cubicBezTo>
                <a:cubicBezTo>
                  <a:pt x="11395801" y="1122088"/>
                  <a:pt x="11380620" y="1088181"/>
                  <a:pt x="11379738" y="1058034"/>
                </a:cubicBezTo>
                <a:lnTo>
                  <a:pt x="11472979" y="1058034"/>
                </a:lnTo>
                <a:lnTo>
                  <a:pt x="11472979" y="1055330"/>
                </a:lnTo>
                <a:cubicBezTo>
                  <a:pt x="11472979" y="1017133"/>
                  <a:pt x="11451726" y="997750"/>
                  <a:pt x="11409709" y="997750"/>
                </a:cubicBezTo>
                <a:close/>
                <a:moveTo>
                  <a:pt x="9781426" y="997723"/>
                </a:moveTo>
                <a:cubicBezTo>
                  <a:pt x="9745481" y="997723"/>
                  <a:pt x="9724032" y="1013119"/>
                  <a:pt x="9724032" y="1038926"/>
                </a:cubicBezTo>
                <a:cubicBezTo>
                  <a:pt x="9724032" y="1062100"/>
                  <a:pt x="9746265" y="1073031"/>
                  <a:pt x="9765951" y="1082648"/>
                </a:cubicBezTo>
                <a:cubicBezTo>
                  <a:pt x="9781230" y="1090161"/>
                  <a:pt x="9795725" y="1097203"/>
                  <a:pt x="9795725" y="1108378"/>
                </a:cubicBezTo>
                <a:cubicBezTo>
                  <a:pt x="9795725" y="1118877"/>
                  <a:pt x="9786421" y="1124901"/>
                  <a:pt x="9770261" y="1124901"/>
                </a:cubicBezTo>
                <a:cubicBezTo>
                  <a:pt x="9755255" y="1123971"/>
                  <a:pt x="9740791" y="1118948"/>
                  <a:pt x="9728439" y="1110376"/>
                </a:cubicBezTo>
                <a:lnTo>
                  <a:pt x="9724326" y="1107888"/>
                </a:lnTo>
                <a:lnTo>
                  <a:pt x="9724326" y="1137271"/>
                </a:lnTo>
                <a:lnTo>
                  <a:pt x="9727166" y="1137888"/>
                </a:lnTo>
                <a:cubicBezTo>
                  <a:pt x="9740855" y="1141241"/>
                  <a:pt x="9754894" y="1142947"/>
                  <a:pt x="9768987" y="1142971"/>
                </a:cubicBezTo>
                <a:cubicBezTo>
                  <a:pt x="9807576" y="1142971"/>
                  <a:pt x="9830593" y="1127134"/>
                  <a:pt x="9830593" y="1100631"/>
                </a:cubicBezTo>
                <a:cubicBezTo>
                  <a:pt x="9830593" y="1074372"/>
                  <a:pt x="9807381" y="1062982"/>
                  <a:pt x="9786911" y="1052913"/>
                </a:cubicBezTo>
                <a:lnTo>
                  <a:pt x="9786911" y="1052884"/>
                </a:lnTo>
                <a:cubicBezTo>
                  <a:pt x="9771828" y="1045527"/>
                  <a:pt x="9758899" y="1039172"/>
                  <a:pt x="9758899" y="1028779"/>
                </a:cubicBezTo>
                <a:cubicBezTo>
                  <a:pt x="9758899" y="1017026"/>
                  <a:pt x="9773003" y="1015714"/>
                  <a:pt x="9779075" y="1015714"/>
                </a:cubicBezTo>
                <a:cubicBezTo>
                  <a:pt x="9791882" y="1016511"/>
                  <a:pt x="9804235" y="1020760"/>
                  <a:pt x="9814824" y="1028006"/>
                </a:cubicBezTo>
                <a:lnTo>
                  <a:pt x="9820799" y="1031649"/>
                </a:lnTo>
                <a:lnTo>
                  <a:pt x="9820799" y="1003079"/>
                </a:lnTo>
                <a:lnTo>
                  <a:pt x="9816097" y="1002101"/>
                </a:lnTo>
                <a:cubicBezTo>
                  <a:pt x="9804739" y="999359"/>
                  <a:pt x="9793109" y="997890"/>
                  <a:pt x="9781426" y="997723"/>
                </a:cubicBezTo>
                <a:close/>
                <a:moveTo>
                  <a:pt x="10913830" y="997682"/>
                </a:moveTo>
                <a:cubicBezTo>
                  <a:pt x="10866426" y="997682"/>
                  <a:pt x="10842430" y="1020493"/>
                  <a:pt x="10842430" y="1065566"/>
                </a:cubicBezTo>
                <a:cubicBezTo>
                  <a:pt x="10842430" y="1114017"/>
                  <a:pt x="10873380" y="1142940"/>
                  <a:pt x="10925289" y="1142940"/>
                </a:cubicBezTo>
                <a:cubicBezTo>
                  <a:pt x="10941146" y="1142830"/>
                  <a:pt x="10956885" y="1140185"/>
                  <a:pt x="10971909" y="1135104"/>
                </a:cubicBezTo>
                <a:lnTo>
                  <a:pt x="10974162" y="1134399"/>
                </a:lnTo>
                <a:lnTo>
                  <a:pt x="10974162" y="1115976"/>
                </a:lnTo>
                <a:lnTo>
                  <a:pt x="10970538" y="1117289"/>
                </a:lnTo>
                <a:cubicBezTo>
                  <a:pt x="10960910" y="1120484"/>
                  <a:pt x="10950813" y="1122075"/>
                  <a:pt x="10940666" y="1122000"/>
                </a:cubicBezTo>
                <a:cubicBezTo>
                  <a:pt x="10899922" y="1122000"/>
                  <a:pt x="10884741" y="1088122"/>
                  <a:pt x="10883957" y="1057926"/>
                </a:cubicBezTo>
                <a:lnTo>
                  <a:pt x="10977100" y="1057926"/>
                </a:lnTo>
                <a:lnTo>
                  <a:pt x="10977100" y="1055242"/>
                </a:lnTo>
                <a:cubicBezTo>
                  <a:pt x="10977100" y="1017044"/>
                  <a:pt x="10955847" y="997682"/>
                  <a:pt x="10913830" y="997682"/>
                </a:cubicBezTo>
                <a:close/>
                <a:moveTo>
                  <a:pt x="10351643" y="997682"/>
                </a:moveTo>
                <a:cubicBezTo>
                  <a:pt x="10304239" y="997682"/>
                  <a:pt x="10280145" y="1020493"/>
                  <a:pt x="10280145" y="1065566"/>
                </a:cubicBezTo>
                <a:cubicBezTo>
                  <a:pt x="10280145" y="1114017"/>
                  <a:pt x="10311193" y="1142940"/>
                  <a:pt x="10363102" y="1142940"/>
                </a:cubicBezTo>
                <a:cubicBezTo>
                  <a:pt x="10378961" y="1142830"/>
                  <a:pt x="10394698" y="1140185"/>
                  <a:pt x="10409722" y="1135104"/>
                </a:cubicBezTo>
                <a:lnTo>
                  <a:pt x="10411975" y="1134399"/>
                </a:lnTo>
                <a:lnTo>
                  <a:pt x="10411975" y="1115976"/>
                </a:lnTo>
                <a:lnTo>
                  <a:pt x="10408351" y="1117289"/>
                </a:lnTo>
                <a:cubicBezTo>
                  <a:pt x="10398713" y="1120466"/>
                  <a:pt x="10388625" y="1122057"/>
                  <a:pt x="10378479" y="1122000"/>
                </a:cubicBezTo>
                <a:cubicBezTo>
                  <a:pt x="10337735" y="1122000"/>
                  <a:pt x="10322554" y="1088122"/>
                  <a:pt x="10321672" y="1057926"/>
                </a:cubicBezTo>
                <a:lnTo>
                  <a:pt x="10414913" y="1057926"/>
                </a:lnTo>
                <a:lnTo>
                  <a:pt x="10414913" y="1055242"/>
                </a:lnTo>
                <a:cubicBezTo>
                  <a:pt x="10414913" y="1017045"/>
                  <a:pt x="10393660" y="997682"/>
                  <a:pt x="10351643" y="997682"/>
                </a:cubicBezTo>
                <a:close/>
                <a:moveTo>
                  <a:pt x="10104241" y="997212"/>
                </a:moveTo>
                <a:lnTo>
                  <a:pt x="10101107" y="997702"/>
                </a:lnTo>
                <a:lnTo>
                  <a:pt x="10040873" y="1007280"/>
                </a:lnTo>
                <a:lnTo>
                  <a:pt x="10040873" y="1017937"/>
                </a:lnTo>
                <a:lnTo>
                  <a:pt x="10043517" y="1018005"/>
                </a:lnTo>
                <a:cubicBezTo>
                  <a:pt x="10062322" y="1018563"/>
                  <a:pt x="10066142" y="1022432"/>
                  <a:pt x="10066142" y="1040865"/>
                </a:cubicBezTo>
                <a:lnTo>
                  <a:pt x="10066142" y="1139787"/>
                </a:lnTo>
                <a:lnTo>
                  <a:pt x="10104241" y="1139787"/>
                </a:lnTo>
                <a:close/>
                <a:moveTo>
                  <a:pt x="9914333" y="997212"/>
                </a:moveTo>
                <a:lnTo>
                  <a:pt x="9911199" y="997703"/>
                </a:lnTo>
                <a:lnTo>
                  <a:pt x="9850377" y="1007280"/>
                </a:lnTo>
                <a:lnTo>
                  <a:pt x="9850377" y="1017937"/>
                </a:lnTo>
                <a:lnTo>
                  <a:pt x="9853021" y="1018005"/>
                </a:lnTo>
                <a:cubicBezTo>
                  <a:pt x="9872022" y="1018563"/>
                  <a:pt x="9875940" y="1022433"/>
                  <a:pt x="9875940" y="1040865"/>
                </a:cubicBezTo>
                <a:lnTo>
                  <a:pt x="9875940" y="1198327"/>
                </a:lnTo>
                <a:lnTo>
                  <a:pt x="9914039" y="1198327"/>
                </a:lnTo>
                <a:lnTo>
                  <a:pt x="9914039" y="1126594"/>
                </a:lnTo>
                <a:cubicBezTo>
                  <a:pt x="9923719" y="1138012"/>
                  <a:pt x="9938291" y="1144094"/>
                  <a:pt x="9953216" y="1142940"/>
                </a:cubicBezTo>
                <a:cubicBezTo>
                  <a:pt x="9993176" y="1142940"/>
                  <a:pt x="10014234" y="1117064"/>
                  <a:pt x="10014234" y="1068171"/>
                </a:cubicBezTo>
                <a:cubicBezTo>
                  <a:pt x="10014234" y="1023334"/>
                  <a:pt x="9992491" y="997654"/>
                  <a:pt x="9954587" y="997654"/>
                </a:cubicBezTo>
                <a:lnTo>
                  <a:pt x="9954587" y="997682"/>
                </a:lnTo>
                <a:cubicBezTo>
                  <a:pt x="9939027" y="998380"/>
                  <a:pt x="9924452" y="1005498"/>
                  <a:pt x="9914333" y="1017339"/>
                </a:cubicBezTo>
                <a:close/>
                <a:moveTo>
                  <a:pt x="9585052" y="997212"/>
                </a:moveTo>
                <a:lnTo>
                  <a:pt x="9581918" y="997703"/>
                </a:lnTo>
                <a:lnTo>
                  <a:pt x="9520704" y="1007280"/>
                </a:lnTo>
                <a:lnTo>
                  <a:pt x="9520704" y="1017986"/>
                </a:lnTo>
                <a:lnTo>
                  <a:pt x="9523348" y="1017986"/>
                </a:lnTo>
                <a:cubicBezTo>
                  <a:pt x="9542741" y="1018545"/>
                  <a:pt x="9546952" y="1022609"/>
                  <a:pt x="9546952" y="1040846"/>
                </a:cubicBezTo>
                <a:lnTo>
                  <a:pt x="9546952" y="1139767"/>
                </a:lnTo>
                <a:lnTo>
                  <a:pt x="9585052" y="1139767"/>
                </a:lnTo>
                <a:lnTo>
                  <a:pt x="9585052" y="1066967"/>
                </a:lnTo>
                <a:cubicBezTo>
                  <a:pt x="9585052" y="1047623"/>
                  <a:pt x="9603269" y="1022628"/>
                  <a:pt x="9622661" y="1022628"/>
                </a:cubicBezTo>
                <a:cubicBezTo>
                  <a:pt x="9640879" y="1022628"/>
                  <a:pt x="9641858" y="1037849"/>
                  <a:pt x="9641858" y="1062687"/>
                </a:cubicBezTo>
                <a:lnTo>
                  <a:pt x="9641858" y="1139767"/>
                </a:lnTo>
                <a:lnTo>
                  <a:pt x="9680055" y="1139767"/>
                </a:lnTo>
                <a:lnTo>
                  <a:pt x="9680055" y="1040866"/>
                </a:lnTo>
                <a:cubicBezTo>
                  <a:pt x="9680055" y="1013011"/>
                  <a:pt x="9664972" y="997682"/>
                  <a:pt x="9637647" y="997682"/>
                </a:cubicBezTo>
                <a:cubicBezTo>
                  <a:pt x="9616043" y="998193"/>
                  <a:pt x="9596200" y="1009718"/>
                  <a:pt x="9585052" y="1028230"/>
                </a:cubicBezTo>
                <a:close/>
                <a:moveTo>
                  <a:pt x="10204730" y="997212"/>
                </a:moveTo>
                <a:lnTo>
                  <a:pt x="10201596" y="997702"/>
                </a:lnTo>
                <a:lnTo>
                  <a:pt x="10140774" y="1007280"/>
                </a:lnTo>
                <a:lnTo>
                  <a:pt x="10140774" y="1017985"/>
                </a:lnTo>
                <a:lnTo>
                  <a:pt x="10143418" y="1017985"/>
                </a:lnTo>
                <a:cubicBezTo>
                  <a:pt x="10162713" y="1018544"/>
                  <a:pt x="10166631" y="1022412"/>
                  <a:pt x="10166631" y="1040845"/>
                </a:cubicBezTo>
                <a:lnTo>
                  <a:pt x="10166631" y="1139766"/>
                </a:lnTo>
                <a:lnTo>
                  <a:pt x="10204730" y="1139766"/>
                </a:lnTo>
                <a:lnTo>
                  <a:pt x="10204730" y="1068455"/>
                </a:lnTo>
                <a:cubicBezTo>
                  <a:pt x="10202786" y="1048275"/>
                  <a:pt x="10217569" y="1030340"/>
                  <a:pt x="10237749" y="1028396"/>
                </a:cubicBezTo>
                <a:cubicBezTo>
                  <a:pt x="10240025" y="1028176"/>
                  <a:pt x="10242316" y="1028170"/>
                  <a:pt x="10244592" y="1028377"/>
                </a:cubicBezTo>
                <a:cubicBezTo>
                  <a:pt x="10249094" y="1028635"/>
                  <a:pt x="10253541" y="1029494"/>
                  <a:pt x="10257815" y="1030933"/>
                </a:cubicBezTo>
                <a:lnTo>
                  <a:pt x="10263985" y="1032667"/>
                </a:lnTo>
                <a:lnTo>
                  <a:pt x="10263985" y="1029112"/>
                </a:lnTo>
                <a:lnTo>
                  <a:pt x="10263985" y="999484"/>
                </a:lnTo>
                <a:lnTo>
                  <a:pt x="10261732" y="999141"/>
                </a:lnTo>
                <a:cubicBezTo>
                  <a:pt x="10255737" y="998203"/>
                  <a:pt x="10249680" y="997715"/>
                  <a:pt x="10243613" y="997682"/>
                </a:cubicBezTo>
                <a:cubicBezTo>
                  <a:pt x="10226159" y="998411"/>
                  <a:pt x="10210840" y="1009523"/>
                  <a:pt x="10204730" y="1025889"/>
                </a:cubicBezTo>
                <a:close/>
                <a:moveTo>
                  <a:pt x="10548800" y="957712"/>
                </a:moveTo>
                <a:lnTo>
                  <a:pt x="10548800" y="1000943"/>
                </a:lnTo>
                <a:lnTo>
                  <a:pt x="10523237" y="1000943"/>
                </a:lnTo>
                <a:lnTo>
                  <a:pt x="10523237" y="1017828"/>
                </a:lnTo>
                <a:lnTo>
                  <a:pt x="10548800" y="1017828"/>
                </a:lnTo>
                <a:lnTo>
                  <a:pt x="10548800" y="1103283"/>
                </a:lnTo>
                <a:cubicBezTo>
                  <a:pt x="10548800" y="1140080"/>
                  <a:pt x="10572502" y="1143028"/>
                  <a:pt x="10601199" y="1143028"/>
                </a:cubicBezTo>
                <a:cubicBezTo>
                  <a:pt x="10608721" y="1142852"/>
                  <a:pt x="10616223" y="1142072"/>
                  <a:pt x="10623627" y="1140697"/>
                </a:cubicBezTo>
                <a:lnTo>
                  <a:pt x="10625880" y="1140364"/>
                </a:lnTo>
                <a:lnTo>
                  <a:pt x="10625880" y="1123146"/>
                </a:lnTo>
                <a:lnTo>
                  <a:pt x="10622648" y="1123880"/>
                </a:lnTo>
                <a:cubicBezTo>
                  <a:pt x="10618848" y="1124646"/>
                  <a:pt x="10614969" y="1125014"/>
                  <a:pt x="10611091" y="1124977"/>
                </a:cubicBezTo>
                <a:cubicBezTo>
                  <a:pt x="10588173" y="1124977"/>
                  <a:pt x="10586899" y="1118219"/>
                  <a:pt x="10586899" y="1098690"/>
                </a:cubicBezTo>
                <a:lnTo>
                  <a:pt x="10586899" y="1017809"/>
                </a:lnTo>
                <a:lnTo>
                  <a:pt x="10629798" y="1017809"/>
                </a:lnTo>
                <a:lnTo>
                  <a:pt x="10629798" y="1000923"/>
                </a:lnTo>
                <a:lnTo>
                  <a:pt x="10586899" y="1000923"/>
                </a:lnTo>
                <a:lnTo>
                  <a:pt x="10586899" y="957712"/>
                </a:lnTo>
                <a:close/>
                <a:moveTo>
                  <a:pt x="11683359" y="957623"/>
                </a:moveTo>
                <a:lnTo>
                  <a:pt x="11683359" y="1000923"/>
                </a:lnTo>
                <a:lnTo>
                  <a:pt x="11657796" y="1000923"/>
                </a:lnTo>
                <a:lnTo>
                  <a:pt x="11657796" y="1017808"/>
                </a:lnTo>
                <a:lnTo>
                  <a:pt x="11683359" y="1017808"/>
                </a:lnTo>
                <a:lnTo>
                  <a:pt x="11683359" y="1103263"/>
                </a:lnTo>
                <a:cubicBezTo>
                  <a:pt x="11683359" y="1140059"/>
                  <a:pt x="11707061" y="1143007"/>
                  <a:pt x="11735758" y="1143007"/>
                </a:cubicBezTo>
                <a:cubicBezTo>
                  <a:pt x="11743250" y="1142836"/>
                  <a:pt x="11750723" y="1142056"/>
                  <a:pt x="11758089" y="1140676"/>
                </a:cubicBezTo>
                <a:lnTo>
                  <a:pt x="11760439" y="1140343"/>
                </a:lnTo>
                <a:lnTo>
                  <a:pt x="11760439" y="1123145"/>
                </a:lnTo>
                <a:lnTo>
                  <a:pt x="11757109" y="1123879"/>
                </a:lnTo>
                <a:cubicBezTo>
                  <a:pt x="11753338" y="1124651"/>
                  <a:pt x="11749499" y="1125018"/>
                  <a:pt x="11745650" y="1124976"/>
                </a:cubicBezTo>
                <a:cubicBezTo>
                  <a:pt x="11722634" y="1124976"/>
                  <a:pt x="11721458" y="1118218"/>
                  <a:pt x="11721458" y="1098689"/>
                </a:cubicBezTo>
                <a:lnTo>
                  <a:pt x="11721458" y="1017808"/>
                </a:lnTo>
                <a:lnTo>
                  <a:pt x="11764357" y="1017808"/>
                </a:lnTo>
                <a:lnTo>
                  <a:pt x="11764357" y="1000923"/>
                </a:lnTo>
                <a:lnTo>
                  <a:pt x="11721458" y="1000923"/>
                </a:lnTo>
                <a:lnTo>
                  <a:pt x="11721458" y="957623"/>
                </a:lnTo>
                <a:close/>
                <a:moveTo>
                  <a:pt x="11073573" y="941062"/>
                </a:moveTo>
                <a:lnTo>
                  <a:pt x="11073573" y="952413"/>
                </a:lnTo>
                <a:lnTo>
                  <a:pt x="11081212" y="953686"/>
                </a:lnTo>
                <a:cubicBezTo>
                  <a:pt x="11104425" y="957603"/>
                  <a:pt x="11106384" y="957927"/>
                  <a:pt x="11106384" y="980541"/>
                </a:cubicBezTo>
                <a:lnTo>
                  <a:pt x="11106384" y="1139765"/>
                </a:lnTo>
                <a:lnTo>
                  <a:pt x="11147323" y="1139765"/>
                </a:lnTo>
                <a:lnTo>
                  <a:pt x="11147323" y="981708"/>
                </a:lnTo>
                <a:lnTo>
                  <a:pt x="11251827" y="1139765"/>
                </a:lnTo>
                <a:lnTo>
                  <a:pt x="11302267" y="1139765"/>
                </a:lnTo>
                <a:lnTo>
                  <a:pt x="11302267" y="941062"/>
                </a:lnTo>
                <a:lnTo>
                  <a:pt x="11299623" y="941062"/>
                </a:lnTo>
                <a:lnTo>
                  <a:pt x="11261328" y="941062"/>
                </a:lnTo>
                <a:lnTo>
                  <a:pt x="11261328" y="1091990"/>
                </a:lnTo>
                <a:cubicBezTo>
                  <a:pt x="11253492" y="1080022"/>
                  <a:pt x="11161721" y="941062"/>
                  <a:pt x="11161721" y="941062"/>
                </a:cubicBezTo>
                <a:close/>
                <a:moveTo>
                  <a:pt x="10085829" y="939103"/>
                </a:moveTo>
                <a:cubicBezTo>
                  <a:pt x="10074421" y="937731"/>
                  <a:pt x="10064062" y="945866"/>
                  <a:pt x="10062691" y="957273"/>
                </a:cubicBezTo>
                <a:cubicBezTo>
                  <a:pt x="10061319" y="968679"/>
                  <a:pt x="10069454" y="979039"/>
                  <a:pt x="10080861" y="980411"/>
                </a:cubicBezTo>
                <a:cubicBezTo>
                  <a:pt x="10082413" y="980598"/>
                  <a:pt x="10083981" y="980609"/>
                  <a:pt x="10085535" y="980444"/>
                </a:cubicBezTo>
                <a:lnTo>
                  <a:pt x="10085535" y="980415"/>
                </a:lnTo>
                <a:cubicBezTo>
                  <a:pt x="10097883" y="981196"/>
                  <a:pt x="10108570" y="971918"/>
                  <a:pt x="10109531" y="959583"/>
                </a:cubicBezTo>
                <a:cubicBezTo>
                  <a:pt x="10108536" y="947436"/>
                  <a:pt x="10097992" y="938325"/>
                  <a:pt x="10085829" y="939103"/>
                </a:cubicBezTo>
                <a:close/>
                <a:moveTo>
                  <a:pt x="9480646" y="937655"/>
                </a:moveTo>
                <a:lnTo>
                  <a:pt x="9477708" y="937919"/>
                </a:lnTo>
                <a:lnTo>
                  <a:pt x="9402293" y="944775"/>
                </a:lnTo>
                <a:lnTo>
                  <a:pt x="9402293" y="955931"/>
                </a:lnTo>
                <a:lnTo>
                  <a:pt x="9404644" y="956225"/>
                </a:lnTo>
                <a:cubicBezTo>
                  <a:pt x="9435006" y="959800"/>
                  <a:pt x="9435006" y="959800"/>
                  <a:pt x="9435006" y="981690"/>
                </a:cubicBezTo>
                <a:lnTo>
                  <a:pt x="9435006" y="1139748"/>
                </a:lnTo>
                <a:lnTo>
                  <a:pt x="9480646" y="1139748"/>
                </a:lnTo>
                <a:close/>
                <a:moveTo>
                  <a:pt x="10710404" y="932962"/>
                </a:moveTo>
                <a:lnTo>
                  <a:pt x="10707368" y="933364"/>
                </a:lnTo>
                <a:lnTo>
                  <a:pt x="10646644" y="940827"/>
                </a:lnTo>
                <a:lnTo>
                  <a:pt x="10646644" y="951600"/>
                </a:lnTo>
                <a:lnTo>
                  <a:pt x="10649288" y="951688"/>
                </a:lnTo>
                <a:cubicBezTo>
                  <a:pt x="10668191" y="952531"/>
                  <a:pt x="10672207" y="956683"/>
                  <a:pt x="10672207" y="975146"/>
                </a:cubicBezTo>
                <a:lnTo>
                  <a:pt x="10672207" y="1139766"/>
                </a:lnTo>
                <a:lnTo>
                  <a:pt x="10710404" y="1139766"/>
                </a:lnTo>
                <a:lnTo>
                  <a:pt x="10710404" y="1068719"/>
                </a:lnTo>
                <a:cubicBezTo>
                  <a:pt x="10710404" y="1042755"/>
                  <a:pt x="10729699" y="1022628"/>
                  <a:pt x="10746251" y="1022628"/>
                </a:cubicBezTo>
                <a:cubicBezTo>
                  <a:pt x="10767504" y="1022628"/>
                  <a:pt x="10767504" y="1038553"/>
                  <a:pt x="10767504" y="1052657"/>
                </a:cubicBezTo>
                <a:lnTo>
                  <a:pt x="10767504" y="1139766"/>
                </a:lnTo>
                <a:lnTo>
                  <a:pt x="10805604" y="1139766"/>
                </a:lnTo>
                <a:lnTo>
                  <a:pt x="10805604" y="1048347"/>
                </a:lnTo>
                <a:cubicBezTo>
                  <a:pt x="10805604" y="1033157"/>
                  <a:pt x="10805604" y="997682"/>
                  <a:pt x="10762705" y="997682"/>
                </a:cubicBezTo>
                <a:cubicBezTo>
                  <a:pt x="10741089" y="997754"/>
                  <a:pt x="10721158" y="1009345"/>
                  <a:pt x="10710404" y="1028093"/>
                </a:cubicBezTo>
                <a:close/>
                <a:moveTo>
                  <a:pt x="11691292" y="901218"/>
                </a:moveTo>
                <a:lnTo>
                  <a:pt x="11642419" y="957691"/>
                </a:lnTo>
                <a:lnTo>
                  <a:pt x="11682771" y="957691"/>
                </a:lnTo>
                <a:lnTo>
                  <a:pt x="11731644" y="901218"/>
                </a:lnTo>
                <a:close/>
                <a:moveTo>
                  <a:pt x="10547331" y="583241"/>
                </a:moveTo>
                <a:lnTo>
                  <a:pt x="10606292" y="728608"/>
                </a:lnTo>
                <a:lnTo>
                  <a:pt x="10488370" y="728608"/>
                </a:lnTo>
                <a:close/>
                <a:moveTo>
                  <a:pt x="11138508" y="528864"/>
                </a:moveTo>
                <a:cubicBezTo>
                  <a:pt x="11138998" y="528864"/>
                  <a:pt x="11138508" y="848508"/>
                  <a:pt x="11138508" y="848508"/>
                </a:cubicBezTo>
                <a:lnTo>
                  <a:pt x="11223130" y="848508"/>
                </a:lnTo>
                <a:cubicBezTo>
                  <a:pt x="11223130" y="848596"/>
                  <a:pt x="11223228" y="708373"/>
                  <a:pt x="11223130" y="707844"/>
                </a:cubicBezTo>
                <a:cubicBezTo>
                  <a:pt x="11223130" y="707844"/>
                  <a:pt x="11394136" y="708236"/>
                  <a:pt x="11394136" y="707844"/>
                </a:cubicBezTo>
                <a:lnTo>
                  <a:pt x="11394136" y="848508"/>
                </a:lnTo>
                <a:cubicBezTo>
                  <a:pt x="11394234" y="848508"/>
                  <a:pt x="11478758" y="848508"/>
                  <a:pt x="11478856" y="848508"/>
                </a:cubicBezTo>
                <a:cubicBezTo>
                  <a:pt x="11479150" y="848156"/>
                  <a:pt x="11478856" y="528864"/>
                  <a:pt x="11478856" y="528864"/>
                </a:cubicBezTo>
                <a:cubicBezTo>
                  <a:pt x="11477974" y="528864"/>
                  <a:pt x="11394038" y="528864"/>
                  <a:pt x="11394136" y="528864"/>
                </a:cubicBezTo>
                <a:cubicBezTo>
                  <a:pt x="11394038" y="528835"/>
                  <a:pt x="11394136" y="657149"/>
                  <a:pt x="11394136" y="656678"/>
                </a:cubicBezTo>
                <a:lnTo>
                  <a:pt x="11223130" y="656678"/>
                </a:lnTo>
                <a:lnTo>
                  <a:pt x="11223130" y="528864"/>
                </a:lnTo>
                <a:close/>
                <a:moveTo>
                  <a:pt x="10075937" y="528864"/>
                </a:moveTo>
                <a:cubicBezTo>
                  <a:pt x="10076133" y="528933"/>
                  <a:pt x="10075937" y="583241"/>
                  <a:pt x="10075937" y="583241"/>
                </a:cubicBezTo>
                <a:lnTo>
                  <a:pt x="10205416" y="583241"/>
                </a:lnTo>
                <a:lnTo>
                  <a:pt x="10205416" y="848508"/>
                </a:lnTo>
                <a:lnTo>
                  <a:pt x="10290038" y="848508"/>
                </a:lnTo>
                <a:lnTo>
                  <a:pt x="10290038" y="583241"/>
                </a:lnTo>
                <a:lnTo>
                  <a:pt x="10419517" y="583241"/>
                </a:lnTo>
                <a:lnTo>
                  <a:pt x="10419517" y="528864"/>
                </a:lnTo>
                <a:cubicBezTo>
                  <a:pt x="10419517" y="528864"/>
                  <a:pt x="10076133" y="528933"/>
                  <a:pt x="10075937" y="528864"/>
                </a:cubicBezTo>
                <a:close/>
                <a:moveTo>
                  <a:pt x="10495421" y="528864"/>
                </a:moveTo>
                <a:lnTo>
                  <a:pt x="10346060" y="848508"/>
                </a:lnTo>
                <a:cubicBezTo>
                  <a:pt x="10346060" y="848508"/>
                  <a:pt x="10440378" y="848596"/>
                  <a:pt x="10440280" y="848508"/>
                </a:cubicBezTo>
                <a:cubicBezTo>
                  <a:pt x="10440672" y="848596"/>
                  <a:pt x="10467998" y="779773"/>
                  <a:pt x="10467998" y="779773"/>
                </a:cubicBezTo>
                <a:lnTo>
                  <a:pt x="10626663" y="779773"/>
                </a:lnTo>
                <a:cubicBezTo>
                  <a:pt x="10626663" y="779773"/>
                  <a:pt x="10654479" y="848508"/>
                  <a:pt x="10654381" y="848508"/>
                </a:cubicBezTo>
                <a:cubicBezTo>
                  <a:pt x="10653793" y="848508"/>
                  <a:pt x="10748895" y="848508"/>
                  <a:pt x="10748699" y="848508"/>
                </a:cubicBezTo>
                <a:lnTo>
                  <a:pt x="10599240" y="528864"/>
                </a:lnTo>
                <a:cubicBezTo>
                  <a:pt x="10599240" y="528864"/>
                  <a:pt x="10495421" y="529060"/>
                  <a:pt x="10495421" y="528864"/>
                </a:cubicBezTo>
                <a:close/>
                <a:moveTo>
                  <a:pt x="11545848" y="528864"/>
                </a:moveTo>
                <a:lnTo>
                  <a:pt x="11545848" y="848508"/>
                </a:lnTo>
                <a:lnTo>
                  <a:pt x="11630666" y="848508"/>
                </a:lnTo>
                <a:lnTo>
                  <a:pt x="11630666" y="528864"/>
                </a:lnTo>
                <a:close/>
                <a:moveTo>
                  <a:pt x="9553515" y="528864"/>
                </a:moveTo>
                <a:cubicBezTo>
                  <a:pt x="9554005" y="528864"/>
                  <a:pt x="9553515" y="848508"/>
                  <a:pt x="9553515" y="848508"/>
                </a:cubicBezTo>
                <a:lnTo>
                  <a:pt x="9638235" y="848508"/>
                </a:lnTo>
                <a:cubicBezTo>
                  <a:pt x="9638137" y="848596"/>
                  <a:pt x="9638333" y="708372"/>
                  <a:pt x="9638235" y="707844"/>
                </a:cubicBezTo>
                <a:cubicBezTo>
                  <a:pt x="9638235" y="707844"/>
                  <a:pt x="9809143" y="708235"/>
                  <a:pt x="9809143" y="707844"/>
                </a:cubicBezTo>
                <a:lnTo>
                  <a:pt x="9809143" y="848508"/>
                </a:lnTo>
                <a:cubicBezTo>
                  <a:pt x="9809241" y="848508"/>
                  <a:pt x="9893765" y="848508"/>
                  <a:pt x="9893863" y="848508"/>
                </a:cubicBezTo>
                <a:cubicBezTo>
                  <a:pt x="9894157" y="848156"/>
                  <a:pt x="9893863" y="528864"/>
                  <a:pt x="9893863" y="528864"/>
                </a:cubicBezTo>
                <a:cubicBezTo>
                  <a:pt x="9892982" y="528864"/>
                  <a:pt x="9809045" y="528864"/>
                  <a:pt x="9809143" y="528864"/>
                </a:cubicBezTo>
                <a:cubicBezTo>
                  <a:pt x="9809045" y="528835"/>
                  <a:pt x="9809143" y="657149"/>
                  <a:pt x="9809143" y="656678"/>
                </a:cubicBezTo>
                <a:lnTo>
                  <a:pt x="9638235" y="656678"/>
                </a:lnTo>
                <a:cubicBezTo>
                  <a:pt x="9638137" y="657589"/>
                  <a:pt x="9638235" y="528864"/>
                  <a:pt x="9638235" y="528864"/>
                </a:cubicBezTo>
                <a:close/>
                <a:moveTo>
                  <a:pt x="9960953" y="528864"/>
                </a:moveTo>
                <a:lnTo>
                  <a:pt x="9960953" y="848508"/>
                </a:lnTo>
                <a:lnTo>
                  <a:pt x="10045673" y="848508"/>
                </a:lnTo>
                <a:lnTo>
                  <a:pt x="10045673" y="528864"/>
                </a:lnTo>
                <a:close/>
                <a:moveTo>
                  <a:pt x="10929795" y="520972"/>
                </a:moveTo>
                <a:cubicBezTo>
                  <a:pt x="10895705" y="520037"/>
                  <a:pt x="10861435" y="525663"/>
                  <a:pt x="10828914" y="537904"/>
                </a:cubicBezTo>
                <a:cubicBezTo>
                  <a:pt x="10798464" y="549314"/>
                  <a:pt x="10772823" y="570783"/>
                  <a:pt x="10756241" y="598756"/>
                </a:cubicBezTo>
                <a:cubicBezTo>
                  <a:pt x="10740717" y="627243"/>
                  <a:pt x="10733146" y="659380"/>
                  <a:pt x="10734302" y="691800"/>
                </a:cubicBezTo>
                <a:cubicBezTo>
                  <a:pt x="10734233" y="714967"/>
                  <a:pt x="10738073" y="737980"/>
                  <a:pt x="10745663" y="759871"/>
                </a:cubicBezTo>
                <a:lnTo>
                  <a:pt x="10745663" y="759880"/>
                </a:lnTo>
                <a:cubicBezTo>
                  <a:pt x="10761403" y="800341"/>
                  <a:pt x="10795124" y="831133"/>
                  <a:pt x="10836847" y="843130"/>
                </a:cubicBezTo>
                <a:cubicBezTo>
                  <a:pt x="10864672" y="851890"/>
                  <a:pt x="10893673" y="856355"/>
                  <a:pt x="10922840" y="856372"/>
                </a:cubicBezTo>
                <a:cubicBezTo>
                  <a:pt x="10960234" y="856306"/>
                  <a:pt x="10997237" y="848747"/>
                  <a:pt x="11031654" y="834140"/>
                </a:cubicBezTo>
                <a:cubicBezTo>
                  <a:pt x="11061389" y="821282"/>
                  <a:pt x="11083318" y="795144"/>
                  <a:pt x="11090810" y="763621"/>
                </a:cubicBezTo>
                <a:cubicBezTo>
                  <a:pt x="11093210" y="753680"/>
                  <a:pt x="11094650" y="743533"/>
                  <a:pt x="11095120" y="733318"/>
                </a:cubicBezTo>
                <a:lnTo>
                  <a:pt x="11005895" y="733318"/>
                </a:lnTo>
                <a:cubicBezTo>
                  <a:pt x="11005993" y="745104"/>
                  <a:pt x="11003623" y="756780"/>
                  <a:pt x="10998941" y="767598"/>
                </a:cubicBezTo>
                <a:cubicBezTo>
                  <a:pt x="10991918" y="783450"/>
                  <a:pt x="10978442" y="795534"/>
                  <a:pt x="10961919" y="800790"/>
                </a:cubicBezTo>
                <a:cubicBezTo>
                  <a:pt x="10949294" y="804866"/>
                  <a:pt x="10936101" y="806919"/>
                  <a:pt x="10922840" y="806873"/>
                </a:cubicBezTo>
                <a:cubicBezTo>
                  <a:pt x="10907307" y="806833"/>
                  <a:pt x="10891910" y="803983"/>
                  <a:pt x="10877395" y="798460"/>
                </a:cubicBezTo>
                <a:cubicBezTo>
                  <a:pt x="10854849" y="789938"/>
                  <a:pt x="10837689" y="771214"/>
                  <a:pt x="10831167" y="748009"/>
                </a:cubicBezTo>
                <a:cubicBezTo>
                  <a:pt x="10825907" y="729738"/>
                  <a:pt x="10823175" y="710832"/>
                  <a:pt x="10823037" y="691820"/>
                </a:cubicBezTo>
                <a:cubicBezTo>
                  <a:pt x="10823086" y="668907"/>
                  <a:pt x="10826994" y="646167"/>
                  <a:pt x="10834595" y="624553"/>
                </a:cubicBezTo>
                <a:cubicBezTo>
                  <a:pt x="10842165" y="602725"/>
                  <a:pt x="10859188" y="585486"/>
                  <a:pt x="10880921" y="577649"/>
                </a:cubicBezTo>
                <a:cubicBezTo>
                  <a:pt x="10894378" y="572858"/>
                  <a:pt x="10908560" y="570417"/>
                  <a:pt x="10922840" y="570431"/>
                </a:cubicBezTo>
                <a:cubicBezTo>
                  <a:pt x="10935387" y="570428"/>
                  <a:pt x="10947864" y="572293"/>
                  <a:pt x="10959862" y="575964"/>
                </a:cubicBezTo>
                <a:cubicBezTo>
                  <a:pt x="10978118" y="581479"/>
                  <a:pt x="10992800" y="595124"/>
                  <a:pt x="10999627" y="612928"/>
                </a:cubicBezTo>
                <a:cubicBezTo>
                  <a:pt x="11002506" y="620816"/>
                  <a:pt x="11004063" y="629125"/>
                  <a:pt x="11004230" y="637521"/>
                </a:cubicBezTo>
                <a:lnTo>
                  <a:pt x="11093063" y="637521"/>
                </a:lnTo>
                <a:cubicBezTo>
                  <a:pt x="11092456" y="630719"/>
                  <a:pt x="11091437" y="623958"/>
                  <a:pt x="11090027" y="617276"/>
                </a:cubicBezTo>
                <a:cubicBezTo>
                  <a:pt x="11083112" y="584284"/>
                  <a:pt x="11060566" y="556724"/>
                  <a:pt x="11029597" y="543409"/>
                </a:cubicBezTo>
                <a:cubicBezTo>
                  <a:pt x="10997795" y="529404"/>
                  <a:pt x="10963885" y="521907"/>
                  <a:pt x="10929795" y="520972"/>
                </a:cubicBezTo>
                <a:close/>
                <a:moveTo>
                  <a:pt x="0" y="0"/>
                </a:moveTo>
                <a:lnTo>
                  <a:pt x="12193196" y="0"/>
                </a:lnTo>
                <a:lnTo>
                  <a:pt x="12193196" y="4738686"/>
                </a:lnTo>
                <a:lnTo>
                  <a:pt x="0" y="4738686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wrap="square" tIns="684000" anchor="ctr">
            <a:noAutofit/>
          </a:bodyPr>
          <a:lstStyle>
            <a:lvl1pPr algn="ctr">
              <a:defRPr sz="1800"/>
            </a:lvl1pPr>
          </a:lstStyle>
          <a:p>
            <a:r>
              <a:rPr lang="en-GB" dirty="0"/>
              <a:t> </a:t>
            </a:r>
          </a:p>
        </p:txBody>
      </p:sp>
      <p:grpSp>
        <p:nvGrpSpPr>
          <p:cNvPr id="16" name="グループ化 39">
            <a:extLst>
              <a:ext uri="{FF2B5EF4-FFF2-40B4-BE49-F238E27FC236}">
                <a16:creationId xmlns:a16="http://schemas.microsoft.com/office/drawing/2014/main" xmlns="" id="{6809A62B-C3B4-4040-AF1D-DC2BF3BDB821}"/>
              </a:ext>
            </a:extLst>
          </p:cNvPr>
          <p:cNvGrpSpPr/>
          <p:nvPr/>
        </p:nvGrpSpPr>
        <p:grpSpPr bwMode="gray">
          <a:xfrm>
            <a:off x="0" y="4739176"/>
            <a:ext cx="12192000" cy="129984"/>
            <a:chOff x="324487" y="2057426"/>
            <a:chExt cx="8495663" cy="97488"/>
          </a:xfrm>
        </p:grpSpPr>
        <p:sp>
          <p:nvSpPr>
            <p:cNvPr id="17" name="正方形/長方形 11">
              <a:extLst>
                <a:ext uri="{FF2B5EF4-FFF2-40B4-BE49-F238E27FC236}">
                  <a16:creationId xmlns:a16="http://schemas.microsoft.com/office/drawing/2014/main" xmlns="" id="{DE7BDB25-5A30-4A34-ABFC-B07249D3BFF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24489" y="2057426"/>
              <a:ext cx="8495661" cy="97488"/>
            </a:xfrm>
            <a:prstGeom prst="rect">
              <a:avLst/>
            </a:prstGeom>
            <a:solidFill>
              <a:srgbClr val="7373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>
                <a:defRPr/>
              </a:pPr>
              <a:endParaRPr lang="en-GB" altLang="ja-JP" sz="4623" dirty="0"/>
            </a:p>
          </p:txBody>
        </p:sp>
        <p:grpSp>
          <p:nvGrpSpPr>
            <p:cNvPr id="18" name="グループ化 16">
              <a:extLst>
                <a:ext uri="{FF2B5EF4-FFF2-40B4-BE49-F238E27FC236}">
                  <a16:creationId xmlns:a16="http://schemas.microsoft.com/office/drawing/2014/main" xmlns="" id="{74096499-38D4-462C-8826-1DB8FC711C1A}"/>
                </a:ext>
              </a:extLst>
            </p:cNvPr>
            <p:cNvGrpSpPr/>
            <p:nvPr/>
          </p:nvGrpSpPr>
          <p:grpSpPr bwMode="gray">
            <a:xfrm>
              <a:off x="324487" y="2057426"/>
              <a:ext cx="1938812" cy="97488"/>
              <a:chOff x="312738" y="2747963"/>
              <a:chExt cx="1970087" cy="109537"/>
            </a:xfrm>
          </p:grpSpPr>
          <p:sp>
            <p:nvSpPr>
              <p:cNvPr id="19" name="正方形/長方形 42">
                <a:extLst>
                  <a:ext uri="{FF2B5EF4-FFF2-40B4-BE49-F238E27FC236}">
                    <a16:creationId xmlns:a16="http://schemas.microsoft.com/office/drawing/2014/main" xmlns="" id="{177D7250-BABC-4571-82D6-043E996D9DB0}"/>
                  </a:ext>
                </a:extLst>
              </p:cNvPr>
              <p:cNvSpPr/>
              <p:nvPr/>
            </p:nvSpPr>
            <p:spPr bwMode="gray">
              <a:xfrm>
                <a:off x="312738" y="2747963"/>
                <a:ext cx="1970087" cy="109537"/>
              </a:xfrm>
              <a:prstGeom prst="rect">
                <a:avLst/>
              </a:prstGeom>
              <a:solidFill>
                <a:srgbClr val="FF0026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en-GB" altLang="ja-JP" sz="2400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20" name="正方形/長方形 43">
                <a:extLst>
                  <a:ext uri="{FF2B5EF4-FFF2-40B4-BE49-F238E27FC236}">
                    <a16:creationId xmlns:a16="http://schemas.microsoft.com/office/drawing/2014/main" xmlns="" id="{BFDA5A74-11DA-4E7F-9508-F12960D3B74E}"/>
                  </a:ext>
                </a:extLst>
              </p:cNvPr>
              <p:cNvSpPr/>
              <p:nvPr/>
            </p:nvSpPr>
            <p:spPr bwMode="gray">
              <a:xfrm>
                <a:off x="312738" y="2747963"/>
                <a:ext cx="985837" cy="109537"/>
              </a:xfrm>
              <a:prstGeom prst="rect">
                <a:avLst/>
              </a:prstGeom>
              <a:solidFill>
                <a:srgbClr val="B3B3B3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en-GB" altLang="ja-JP" sz="2400" kern="0" dirty="0">
                  <a:solidFill>
                    <a:sysClr val="windowText" lastClr="000000"/>
                  </a:solidFill>
                </a:endParaRPr>
              </a:p>
            </p:txBody>
          </p:sp>
        </p:grpSp>
      </p:grpSp>
      <p:sp>
        <p:nvSpPr>
          <p:cNvPr id="31" name="Text Placeholder 8">
            <a:extLst>
              <a:ext uri="{FF2B5EF4-FFF2-40B4-BE49-F238E27FC236}">
                <a16:creationId xmlns:a16="http://schemas.microsoft.com/office/drawing/2014/main" xmlns="" id="{5E85F302-37F9-404E-AEBD-A43A98EF1D7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78800" y="6544105"/>
            <a:ext cx="2876400" cy="154800"/>
          </a:xfrm>
        </p:spPr>
        <p:txBody>
          <a:bodyPr tIns="0" anchor="ctr"/>
          <a:lstStyle>
            <a:lvl1pPr>
              <a:defRPr sz="900">
                <a:latin typeface="+mn-lt"/>
                <a:cs typeface="Arial" panose="020B0604020202020204" pitchFamily="34" charset="0"/>
              </a:defRPr>
            </a:lvl1pPr>
            <a:lvl2pPr>
              <a:defRPr sz="930"/>
            </a:lvl2pPr>
            <a:lvl3pPr>
              <a:defRPr sz="930"/>
            </a:lvl3pPr>
            <a:lvl4pPr>
              <a:defRPr sz="930"/>
            </a:lvl4pPr>
            <a:lvl5pPr>
              <a:defRPr sz="930"/>
            </a:lvl5pPr>
          </a:lstStyle>
          <a:p>
            <a:pPr lvl="0"/>
            <a:r>
              <a:rPr lang="en-GB" dirty="0"/>
              <a:t>YYYY-MM-DD</a:t>
            </a:r>
          </a:p>
        </p:txBody>
      </p:sp>
      <p:pic>
        <p:nvPicPr>
          <p:cNvPr id="47" name="Picture 46">
            <a:extLst>
              <a:ext uri="{FF2B5EF4-FFF2-40B4-BE49-F238E27FC236}">
                <a16:creationId xmlns:a16="http://schemas.microsoft.com/office/drawing/2014/main" xmlns="" id="{45CD5763-FDAA-489C-8FC1-2E600BB2FC9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99330" y="6370483"/>
            <a:ext cx="2663370" cy="363891"/>
          </a:xfrm>
          <a:prstGeom prst="rect">
            <a:avLst/>
          </a:prstGeom>
        </p:spPr>
      </p:pic>
      <p:pic>
        <p:nvPicPr>
          <p:cNvPr id="23" name="Confidential" hidden="1">
            <a:extLst>
              <a:ext uri="{FF2B5EF4-FFF2-40B4-BE49-F238E27FC236}">
                <a16:creationId xmlns:a16="http://schemas.microsoft.com/office/drawing/2014/main" xmlns="" id="{F228D1DE-D36C-4E9B-BD91-2341FC0B7E0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277200" y="345600"/>
            <a:ext cx="1671890" cy="266400"/>
          </a:xfrm>
          <a:prstGeom prst="rect">
            <a:avLst/>
          </a:prstGeom>
        </p:spPr>
      </p:pic>
      <p:pic>
        <p:nvPicPr>
          <p:cNvPr id="24" name="Public">
            <a:extLst>
              <a:ext uri="{FF2B5EF4-FFF2-40B4-BE49-F238E27FC236}">
                <a16:creationId xmlns:a16="http://schemas.microsoft.com/office/drawing/2014/main" xmlns="" id="{335E045B-8C20-4063-A4AC-CE1126B6A6B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275718" y="345600"/>
            <a:ext cx="1671890" cy="266400"/>
          </a:xfrm>
          <a:prstGeom prst="rect">
            <a:avLst/>
          </a:prstGeom>
        </p:spPr>
      </p:pic>
      <p:pic>
        <p:nvPicPr>
          <p:cNvPr id="25" name="Internal" hidden="1">
            <a:extLst>
              <a:ext uri="{FF2B5EF4-FFF2-40B4-BE49-F238E27FC236}">
                <a16:creationId xmlns:a16="http://schemas.microsoft.com/office/drawing/2014/main" xmlns="" id="{CFAE1106-3574-4FE9-B82F-D12EAEB197C5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275718" y="344152"/>
            <a:ext cx="1671890" cy="266400"/>
          </a:xfrm>
          <a:prstGeom prst="rect">
            <a:avLst/>
          </a:prstGeom>
        </p:spPr>
      </p:pic>
      <p:pic>
        <p:nvPicPr>
          <p:cNvPr id="27" name="Strictly" hidden="1">
            <a:extLst>
              <a:ext uri="{FF2B5EF4-FFF2-40B4-BE49-F238E27FC236}">
                <a16:creationId xmlns:a16="http://schemas.microsoft.com/office/drawing/2014/main" xmlns="" id="{C9A12DA8-BB00-43A2-B6FC-35D89D95C927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11"/>
              </a:ext>
            </a:extLst>
          </a:blip>
          <a:stretch>
            <a:fillRect/>
          </a:stretch>
        </p:blipFill>
        <p:spPr>
          <a:xfrm>
            <a:off x="261960" y="345600"/>
            <a:ext cx="1671890" cy="266400"/>
          </a:xfrm>
          <a:prstGeom prst="rect">
            <a:avLst/>
          </a:prstGeom>
        </p:spPr>
      </p:pic>
      <p:sp>
        <p:nvSpPr>
          <p:cNvPr id="28" name="text" descr="{&#10; &quot;SkabelonDesign&quot;: {&#10; &quot;textualValue&quot;: &quot;&lt;key1/&gt;&quot;,&#10; &quot;bindingCollection&quot;: {&#10; &quot;key1&quot;: {&quot;SkabelonDesign&quot;:{&quot;type&quot;:&quot;Text&quot;,&quot;binding&quot;:&quot;Copyright&quot;}}&#10; }&#10; }&#10;}">
            <a:extLst>
              <a:ext uri="{FF2B5EF4-FFF2-40B4-BE49-F238E27FC236}">
                <a16:creationId xmlns:a16="http://schemas.microsoft.com/office/drawing/2014/main" xmlns="" id="{9448B801-F420-43A0-9080-0D134B0120DD}"/>
              </a:ext>
            </a:extLst>
          </p:cNvPr>
          <p:cNvSpPr txBox="1"/>
          <p:nvPr userDrawn="1"/>
        </p:nvSpPr>
        <p:spPr bwMode="gray">
          <a:xfrm>
            <a:off x="4856400" y="6540775"/>
            <a:ext cx="2484000" cy="16920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0" i="0" u="none" strike="noStrike" kern="1200" cap="none" spc="-1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© 2023 Hitachi Energy. All rights reserved.</a:t>
            </a:r>
            <a:endParaRPr kumimoji="0" lang="en-GB" sz="900" b="0" i="0" u="none" strike="noStrike" kern="1200" cap="none" spc="-1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xmlns="" id="{17DA52BE-4641-459B-967D-8AA31C2640A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368000" y="5090400"/>
            <a:ext cx="10555200" cy="493200"/>
          </a:xfrm>
        </p:spPr>
        <p:txBody>
          <a:bodyPr anchor="t"/>
          <a:lstStyle>
            <a:lvl1pPr algn="l">
              <a:lnSpc>
                <a:spcPct val="100000"/>
              </a:lnSpc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pl-PL" dirty="0" err="1"/>
              <a:t>Click</a:t>
            </a:r>
            <a:r>
              <a:rPr lang="pl-PL" dirty="0"/>
              <a:t> to insert </a:t>
            </a:r>
            <a:r>
              <a:rPr lang="en-GB" dirty="0"/>
              <a:t>Title</a:t>
            </a:r>
          </a:p>
        </p:txBody>
      </p:sp>
      <p:sp>
        <p:nvSpPr>
          <p:cNvPr id="29" name="Subtitle 2">
            <a:extLst>
              <a:ext uri="{FF2B5EF4-FFF2-40B4-BE49-F238E27FC236}">
                <a16:creationId xmlns:a16="http://schemas.microsoft.com/office/drawing/2014/main" xmlns="" id="{D0A8CE9F-7AA3-4C60-B5E5-71B02642F51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378800" y="5583600"/>
            <a:ext cx="10555200" cy="327600"/>
          </a:xfrm>
        </p:spPr>
        <p:txBody>
          <a:bodyPr tIns="0"/>
          <a:lstStyle>
            <a:lvl1pPr marL="0" indent="0" algn="l"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l-PL" dirty="0" err="1"/>
              <a:t>Click</a:t>
            </a:r>
            <a:r>
              <a:rPr lang="pl-PL" dirty="0"/>
              <a:t> to insert </a:t>
            </a:r>
            <a:r>
              <a:rPr lang="en-GB" dirty="0"/>
              <a:t>Subtitle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xmlns="" id="{90B9AC15-7C17-4A5A-B8D0-D72EA236DEB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78800" y="5972400"/>
            <a:ext cx="10555200" cy="306000"/>
          </a:xfrm>
        </p:spPr>
        <p:txBody>
          <a:bodyPr tIns="0"/>
          <a:lstStyle>
            <a:lvl1pPr>
              <a:defRPr>
                <a:latin typeface="Arial Nova Light" panose="020B0304020202020204" pitchFamily="34" charset="0"/>
              </a:defRPr>
            </a:lvl1pPr>
          </a:lstStyle>
          <a:p>
            <a:pPr lvl="0"/>
            <a:r>
              <a:rPr lang="pl-PL" dirty="0" err="1"/>
              <a:t>Click</a:t>
            </a:r>
            <a:r>
              <a:rPr lang="pl-PL" dirty="0"/>
              <a:t> to insert </a:t>
            </a:r>
            <a:r>
              <a:rPr lang="en-GB" dirty="0"/>
              <a:t>Additio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3669619329"/>
      </p:ext>
    </p:extLst>
  </p:cSld>
  <p:clrMapOvr>
    <a:masterClrMapping/>
  </p:clrMapOvr>
  <p:hf hdr="0" dt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8">
            <a:extLst>
              <a:ext uri="{FF2B5EF4-FFF2-40B4-BE49-F238E27FC236}">
                <a16:creationId xmlns:a16="http://schemas.microsoft.com/office/drawing/2014/main" xmlns="" id="{6F615568-8BB1-4119-9F0E-EB669FFD48CE}"/>
              </a:ext>
            </a:extLst>
          </p:cNvPr>
          <p:cNvSpPr>
            <a:spLocks noGrp="1"/>
          </p:cNvSpPr>
          <p:nvPr>
            <p:ph sz="quarter" idx="21"/>
          </p:nvPr>
        </p:nvSpPr>
        <p:spPr bwMode="gray">
          <a:xfrm>
            <a:off x="263525" y="1376363"/>
            <a:ext cx="11664950" cy="4968875"/>
          </a:xfrm>
        </p:spPr>
        <p:txBody>
          <a:bodyPr lIns="0" tIns="0" rIns="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xmlns="" id="{2B33F7BB-2950-4BC1-A9AA-52FECA7F76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4" y="187199"/>
            <a:ext cx="8856000" cy="435600"/>
          </a:xfrm>
        </p:spPr>
        <p:txBody>
          <a:bodyPr anchor="ctr">
            <a:no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04273D22-2B71-43EB-9519-018E5129B9DB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C24EC536-6FE3-4540-8D85-74C58F0BF69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xmlns="" id="{89CE1754-1F54-4839-94DA-AD4A33133F3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16400" y="6433200"/>
            <a:ext cx="6123600" cy="255600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900"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0630529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>
            <a:extLst>
              <a:ext uri="{FF2B5EF4-FFF2-40B4-BE49-F238E27FC236}">
                <a16:creationId xmlns:a16="http://schemas.microsoft.com/office/drawing/2014/main" xmlns="" id="{F54091EA-6C3E-4A95-92A1-B050758AD4C9}"/>
              </a:ext>
            </a:extLst>
          </p:cNvPr>
          <p:cNvSpPr>
            <a:spLocks noGrp="1"/>
          </p:cNvSpPr>
          <p:nvPr>
            <p:ph sz="quarter" idx="21"/>
          </p:nvPr>
        </p:nvSpPr>
        <p:spPr bwMode="gray">
          <a:xfrm>
            <a:off x="263525" y="1376363"/>
            <a:ext cx="11664950" cy="4218539"/>
          </a:xfrm>
        </p:spPr>
        <p:txBody>
          <a:bodyPr lIns="0" tIns="0" rIns="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xmlns="" id="{742BE3E5-C35B-483A-9FF2-1492C28E74E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 bwMode="gray">
          <a:xfrm>
            <a:off x="0" y="5805264"/>
            <a:ext cx="12192000" cy="539974"/>
          </a:xfrm>
          <a:solidFill>
            <a:srgbClr val="D9D9D9"/>
          </a:solidFill>
        </p:spPr>
        <p:txBody>
          <a:bodyPr lIns="252000" tIns="0" rIns="25200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xmlns="" id="{C2C57A89-9255-4D37-ADA0-58485848A9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4" y="187199"/>
            <a:ext cx="8856000" cy="435600"/>
          </a:xfrm>
        </p:spPr>
        <p:txBody>
          <a:bodyPr anchor="ctr">
            <a:no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CBD2446E-4DC7-46DC-98FB-E33D66E8C9AB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C24EC536-6FE3-4540-8D85-74C58F0BF69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xmlns="" id="{9799882D-C0FB-4C73-BF2A-0ABD77587A6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16400" y="6433200"/>
            <a:ext cx="6123600" cy="255600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900"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7953853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Box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>
            <a:extLst>
              <a:ext uri="{FF2B5EF4-FFF2-40B4-BE49-F238E27FC236}">
                <a16:creationId xmlns:a16="http://schemas.microsoft.com/office/drawing/2014/main" xmlns="" id="{F54091EA-6C3E-4A95-92A1-B050758AD4C9}"/>
              </a:ext>
            </a:extLst>
          </p:cNvPr>
          <p:cNvSpPr>
            <a:spLocks noGrp="1"/>
          </p:cNvSpPr>
          <p:nvPr>
            <p:ph sz="quarter" idx="21"/>
          </p:nvPr>
        </p:nvSpPr>
        <p:spPr bwMode="gray">
          <a:xfrm>
            <a:off x="263525" y="1376363"/>
            <a:ext cx="11664950" cy="4218539"/>
          </a:xfrm>
        </p:spPr>
        <p:txBody>
          <a:bodyPr lIns="0" tIns="0" rIns="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xmlns="" id="{742BE3E5-C35B-483A-9FF2-1492C28E74E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 bwMode="gray">
          <a:xfrm>
            <a:off x="0" y="5805264"/>
            <a:ext cx="12192000" cy="539974"/>
          </a:xfrm>
          <a:solidFill>
            <a:schemeClr val="tx2"/>
          </a:solidFill>
        </p:spPr>
        <p:txBody>
          <a:bodyPr lIns="252000" tIns="0" rIns="25200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xmlns="" id="{C2C57A89-9255-4D37-ADA0-58485848A9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4" y="187199"/>
            <a:ext cx="8856000" cy="435600"/>
          </a:xfrm>
        </p:spPr>
        <p:txBody>
          <a:bodyPr anchor="ctr">
            <a:no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CBD2446E-4DC7-46DC-98FB-E33D66E8C9AB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C24EC536-6FE3-4540-8D85-74C58F0BF69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xmlns="" id="{BE26394E-29D1-46B5-A21E-BF86016C738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16400" y="6433200"/>
            <a:ext cx="6123600" cy="255600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900"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4906661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1">
            <a:extLst>
              <a:ext uri="{FF2B5EF4-FFF2-40B4-BE49-F238E27FC236}">
                <a16:creationId xmlns:a16="http://schemas.microsoft.com/office/drawing/2014/main" xmlns="" id="{FAC527E1-CBF6-43CE-BCF3-6359E433CFDE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 bwMode="gray">
          <a:xfrm>
            <a:off x="263525" y="1376363"/>
            <a:ext cx="11664950" cy="252000"/>
          </a:xfrm>
        </p:spPr>
        <p:txBody>
          <a:bodyPr lIns="0" tIns="0" rIns="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xmlns="" id="{6D6E47E2-CFF9-4929-BE9D-85365E9413F8}"/>
              </a:ext>
            </a:extLst>
          </p:cNvPr>
          <p:cNvSpPr>
            <a:spLocks noGrp="1"/>
          </p:cNvSpPr>
          <p:nvPr>
            <p:ph sz="quarter" idx="19"/>
          </p:nvPr>
        </p:nvSpPr>
        <p:spPr bwMode="gray">
          <a:xfrm>
            <a:off x="263525" y="1747582"/>
            <a:ext cx="11664950" cy="4597656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xmlns="" id="{3EB01191-2991-470F-8717-A3BD9DDF0C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4" y="187199"/>
            <a:ext cx="8856000" cy="435600"/>
          </a:xfrm>
        </p:spPr>
        <p:txBody>
          <a:bodyPr anchor="ctr">
            <a:no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FF7F699F-3B60-46E9-AA33-C172BE854E97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C24EC536-6FE3-4540-8D85-74C58F0BF69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xmlns="" id="{8B89303D-F0F4-4868-B2FB-176EF061F56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16400" y="6433200"/>
            <a:ext cx="6123600" cy="255600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900"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1577672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&amp;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1">
            <a:extLst>
              <a:ext uri="{FF2B5EF4-FFF2-40B4-BE49-F238E27FC236}">
                <a16:creationId xmlns:a16="http://schemas.microsoft.com/office/drawing/2014/main" xmlns="" id="{FAC527E1-CBF6-43CE-BCF3-6359E433CFDE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 bwMode="gray">
          <a:xfrm>
            <a:off x="263525" y="1376385"/>
            <a:ext cx="11664950" cy="252000"/>
          </a:xfrm>
        </p:spPr>
        <p:txBody>
          <a:bodyPr lIns="0" tIns="0" rIns="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xmlns="" id="{6D6E47E2-CFF9-4929-BE9D-85365E9413F8}"/>
              </a:ext>
            </a:extLst>
          </p:cNvPr>
          <p:cNvSpPr>
            <a:spLocks noGrp="1"/>
          </p:cNvSpPr>
          <p:nvPr>
            <p:ph sz="quarter" idx="19"/>
          </p:nvPr>
        </p:nvSpPr>
        <p:spPr bwMode="gray">
          <a:xfrm>
            <a:off x="263525" y="1747603"/>
            <a:ext cx="11664950" cy="3913643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xmlns="" id="{AABAAD68-8B16-486F-BAEC-5ACAD86B61E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 bwMode="gray">
          <a:xfrm>
            <a:off x="0" y="5805264"/>
            <a:ext cx="12192000" cy="539974"/>
          </a:xfrm>
          <a:solidFill>
            <a:srgbClr val="D9D9D9"/>
          </a:solidFill>
        </p:spPr>
        <p:txBody>
          <a:bodyPr lIns="252000" tIns="0" rIns="25200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xmlns="" id="{F10F195E-83B2-41A2-8F36-04F29336C2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4" y="187199"/>
            <a:ext cx="8856000" cy="435600"/>
          </a:xfrm>
        </p:spPr>
        <p:txBody>
          <a:bodyPr anchor="ctr">
            <a:no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E8D44020-1EE9-4779-A3A0-FDAC3082CD89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C24EC536-6FE3-4540-8D85-74C58F0BF69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ooter Placeholder 5">
            <a:extLst>
              <a:ext uri="{FF2B5EF4-FFF2-40B4-BE49-F238E27FC236}">
                <a16:creationId xmlns:a16="http://schemas.microsoft.com/office/drawing/2014/main" xmlns="" id="{11604466-CE56-4CD2-A4BA-7D4C6E32820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16400" y="6433200"/>
            <a:ext cx="6123600" cy="255600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900"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1621480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&amp; Box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1">
            <a:extLst>
              <a:ext uri="{FF2B5EF4-FFF2-40B4-BE49-F238E27FC236}">
                <a16:creationId xmlns:a16="http://schemas.microsoft.com/office/drawing/2014/main" xmlns="" id="{FAC527E1-CBF6-43CE-BCF3-6359E433CFDE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 bwMode="gray">
          <a:xfrm>
            <a:off x="263525" y="1376385"/>
            <a:ext cx="11664950" cy="252000"/>
          </a:xfrm>
        </p:spPr>
        <p:txBody>
          <a:bodyPr lIns="0" tIns="0" rIns="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xmlns="" id="{6D6E47E2-CFF9-4929-BE9D-85365E9413F8}"/>
              </a:ext>
            </a:extLst>
          </p:cNvPr>
          <p:cNvSpPr>
            <a:spLocks noGrp="1"/>
          </p:cNvSpPr>
          <p:nvPr>
            <p:ph sz="quarter" idx="19"/>
          </p:nvPr>
        </p:nvSpPr>
        <p:spPr bwMode="gray">
          <a:xfrm>
            <a:off x="263525" y="1747603"/>
            <a:ext cx="11664950" cy="3913643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xmlns="" id="{AABAAD68-8B16-486F-BAEC-5ACAD86B61E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 bwMode="gray">
          <a:xfrm>
            <a:off x="0" y="5805264"/>
            <a:ext cx="12192000" cy="539974"/>
          </a:xfrm>
          <a:solidFill>
            <a:schemeClr val="tx2"/>
          </a:solidFill>
        </p:spPr>
        <p:txBody>
          <a:bodyPr lIns="252000" tIns="0" rIns="25200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xmlns="" id="{F10F195E-83B2-41A2-8F36-04F29336C2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4" y="187199"/>
            <a:ext cx="8856000" cy="435600"/>
          </a:xfrm>
        </p:spPr>
        <p:txBody>
          <a:bodyPr anchor="ctr">
            <a:no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E8D44020-1EE9-4779-A3A0-FDAC3082CD89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C24EC536-6FE3-4540-8D85-74C58F0BF69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ooter Placeholder 5">
            <a:extLst>
              <a:ext uri="{FF2B5EF4-FFF2-40B4-BE49-F238E27FC236}">
                <a16:creationId xmlns:a16="http://schemas.microsoft.com/office/drawing/2014/main" xmlns="" id="{F79DE625-41DA-4423-BE37-91C80B73453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16400" y="6433200"/>
            <a:ext cx="6123600" cy="255600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900"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6556833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2) &amp; Conten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 Placeholder 11">
            <a:extLst>
              <a:ext uri="{FF2B5EF4-FFF2-40B4-BE49-F238E27FC236}">
                <a16:creationId xmlns:a16="http://schemas.microsoft.com/office/drawing/2014/main" xmlns="" id="{77CF11F9-392A-4F9A-A9E9-90FDCBED0EA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>
          <a:xfrm>
            <a:off x="263524" y="1376363"/>
            <a:ext cx="5615516" cy="252000"/>
          </a:xfrm>
        </p:spPr>
        <p:txBody>
          <a:bodyPr lIns="0" tIns="0" rIns="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0" name="Text Placeholder 11">
            <a:extLst>
              <a:ext uri="{FF2B5EF4-FFF2-40B4-BE49-F238E27FC236}">
                <a16:creationId xmlns:a16="http://schemas.microsoft.com/office/drawing/2014/main" xmlns="" id="{684B176C-259C-4283-A8C6-335BD6553B0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 bwMode="gray">
          <a:xfrm>
            <a:off x="6311571" y="1376363"/>
            <a:ext cx="5605200" cy="252000"/>
          </a:xfrm>
        </p:spPr>
        <p:txBody>
          <a:bodyPr lIns="0" tIns="0" rIns="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1" name="Content Placeholder 3">
            <a:extLst>
              <a:ext uri="{FF2B5EF4-FFF2-40B4-BE49-F238E27FC236}">
                <a16:creationId xmlns:a16="http://schemas.microsoft.com/office/drawing/2014/main" xmlns="" id="{2EE9DBAB-CFE0-42C2-B2D3-65B2D93F8BB9}"/>
              </a:ext>
            </a:extLst>
          </p:cNvPr>
          <p:cNvSpPr>
            <a:spLocks noGrp="1"/>
          </p:cNvSpPr>
          <p:nvPr>
            <p:ph sz="quarter" idx="20"/>
          </p:nvPr>
        </p:nvSpPr>
        <p:spPr bwMode="gray">
          <a:xfrm>
            <a:off x="6310511" y="1747582"/>
            <a:ext cx="5616503" cy="4597656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2" name="Content Placeholder 3">
            <a:extLst>
              <a:ext uri="{FF2B5EF4-FFF2-40B4-BE49-F238E27FC236}">
                <a16:creationId xmlns:a16="http://schemas.microsoft.com/office/drawing/2014/main" xmlns="" id="{5CDF3E76-DB43-4E8F-87C4-29ECB4438624}"/>
              </a:ext>
            </a:extLst>
          </p:cNvPr>
          <p:cNvSpPr>
            <a:spLocks noGrp="1"/>
          </p:cNvSpPr>
          <p:nvPr>
            <p:ph sz="quarter" idx="19"/>
          </p:nvPr>
        </p:nvSpPr>
        <p:spPr bwMode="gray">
          <a:xfrm>
            <a:off x="263524" y="1747582"/>
            <a:ext cx="5615515" cy="4597656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xmlns="" id="{8E51AC65-A913-4EDC-BBFD-A07E0F9705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4" y="187199"/>
            <a:ext cx="8856000" cy="435600"/>
          </a:xfrm>
        </p:spPr>
        <p:txBody>
          <a:bodyPr anchor="ctr">
            <a:no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A9617785-5434-47A5-8365-A50D531B22F7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C24EC536-6FE3-4540-8D85-74C58F0BF69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Footer Placeholder 5">
            <a:extLst>
              <a:ext uri="{FF2B5EF4-FFF2-40B4-BE49-F238E27FC236}">
                <a16:creationId xmlns:a16="http://schemas.microsoft.com/office/drawing/2014/main" xmlns="" id="{14CAA2AD-7038-4798-953A-8C36409E370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16400" y="6433200"/>
            <a:ext cx="6123600" cy="255600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900"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17597332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2) &amp; Content (2) &amp;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1">
            <a:extLst>
              <a:ext uri="{FF2B5EF4-FFF2-40B4-BE49-F238E27FC236}">
                <a16:creationId xmlns:a16="http://schemas.microsoft.com/office/drawing/2014/main" xmlns="" id="{BE773D7E-8737-4549-BA6F-9CD12F2D24F5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>
          <a:xfrm>
            <a:off x="263524" y="1376363"/>
            <a:ext cx="5615516" cy="252000"/>
          </a:xfrm>
        </p:spPr>
        <p:txBody>
          <a:bodyPr lIns="0" tIns="0" rIns="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xmlns="" id="{7F36FFC0-2B26-4B6E-81E9-87E8914B4DE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 bwMode="gray">
          <a:xfrm>
            <a:off x="6311571" y="1376363"/>
            <a:ext cx="5605200" cy="252000"/>
          </a:xfrm>
        </p:spPr>
        <p:txBody>
          <a:bodyPr lIns="0" tIns="0" rIns="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xmlns="" id="{CB0DE72E-A072-4713-B9D3-7CF3F972BD71}"/>
              </a:ext>
            </a:extLst>
          </p:cNvPr>
          <p:cNvSpPr>
            <a:spLocks noGrp="1"/>
          </p:cNvSpPr>
          <p:nvPr>
            <p:ph sz="quarter" idx="20"/>
          </p:nvPr>
        </p:nvSpPr>
        <p:spPr bwMode="gray">
          <a:xfrm>
            <a:off x="6310511" y="1747582"/>
            <a:ext cx="5616503" cy="3847320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xmlns="" id="{06D04365-BF08-447A-9A64-A43CDFB2EB55}"/>
              </a:ext>
            </a:extLst>
          </p:cNvPr>
          <p:cNvSpPr>
            <a:spLocks noGrp="1"/>
          </p:cNvSpPr>
          <p:nvPr>
            <p:ph sz="quarter" idx="19"/>
          </p:nvPr>
        </p:nvSpPr>
        <p:spPr bwMode="gray">
          <a:xfrm>
            <a:off x="263524" y="1747582"/>
            <a:ext cx="5615515" cy="3847320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xmlns="" id="{EA4E27D0-DBD6-427E-9C38-152E21795D9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 bwMode="gray">
          <a:xfrm>
            <a:off x="0" y="5805264"/>
            <a:ext cx="12192000" cy="539974"/>
          </a:xfrm>
          <a:solidFill>
            <a:srgbClr val="D9D9D9"/>
          </a:solidFill>
        </p:spPr>
        <p:txBody>
          <a:bodyPr lIns="252000" tIns="0" rIns="25200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xmlns="" id="{60F44204-EEB3-4F01-B49E-2A16F4D8A8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4" y="187199"/>
            <a:ext cx="8856000" cy="435600"/>
          </a:xfrm>
        </p:spPr>
        <p:txBody>
          <a:bodyPr anchor="ctr">
            <a:no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58C3FCE9-6C86-484F-A6C3-F0020F94E2ED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C24EC536-6FE3-4540-8D85-74C58F0BF69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Footer Placeholder 5">
            <a:extLst>
              <a:ext uri="{FF2B5EF4-FFF2-40B4-BE49-F238E27FC236}">
                <a16:creationId xmlns:a16="http://schemas.microsoft.com/office/drawing/2014/main" xmlns="" id="{274928C5-A623-4A7C-BAC2-D3FFD62953C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16400" y="6433200"/>
            <a:ext cx="6123600" cy="255600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900"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3120469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2) &amp; Content (2) &amp; Box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1">
            <a:extLst>
              <a:ext uri="{FF2B5EF4-FFF2-40B4-BE49-F238E27FC236}">
                <a16:creationId xmlns:a16="http://schemas.microsoft.com/office/drawing/2014/main" xmlns="" id="{BE773D7E-8737-4549-BA6F-9CD12F2D24F5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>
          <a:xfrm>
            <a:off x="263524" y="1376363"/>
            <a:ext cx="5615516" cy="252000"/>
          </a:xfrm>
        </p:spPr>
        <p:txBody>
          <a:bodyPr lIns="0" tIns="0" rIns="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xmlns="" id="{7F36FFC0-2B26-4B6E-81E9-87E8914B4DE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 bwMode="gray">
          <a:xfrm>
            <a:off x="6311571" y="1376363"/>
            <a:ext cx="5605200" cy="252000"/>
          </a:xfrm>
        </p:spPr>
        <p:txBody>
          <a:bodyPr lIns="0" tIns="0" rIns="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xmlns="" id="{CB0DE72E-A072-4713-B9D3-7CF3F972BD71}"/>
              </a:ext>
            </a:extLst>
          </p:cNvPr>
          <p:cNvSpPr>
            <a:spLocks noGrp="1"/>
          </p:cNvSpPr>
          <p:nvPr>
            <p:ph sz="quarter" idx="20"/>
          </p:nvPr>
        </p:nvSpPr>
        <p:spPr bwMode="gray">
          <a:xfrm>
            <a:off x="6310511" y="1747582"/>
            <a:ext cx="5616503" cy="3847320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xmlns="" id="{06D04365-BF08-447A-9A64-A43CDFB2EB55}"/>
              </a:ext>
            </a:extLst>
          </p:cNvPr>
          <p:cNvSpPr>
            <a:spLocks noGrp="1"/>
          </p:cNvSpPr>
          <p:nvPr>
            <p:ph sz="quarter" idx="19"/>
          </p:nvPr>
        </p:nvSpPr>
        <p:spPr bwMode="gray">
          <a:xfrm>
            <a:off x="263524" y="1747582"/>
            <a:ext cx="5615515" cy="3847320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xmlns="" id="{EA4E27D0-DBD6-427E-9C38-152E21795D9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 bwMode="gray">
          <a:xfrm>
            <a:off x="0" y="5805264"/>
            <a:ext cx="12192000" cy="539974"/>
          </a:xfrm>
          <a:solidFill>
            <a:schemeClr val="tx2"/>
          </a:solidFill>
        </p:spPr>
        <p:txBody>
          <a:bodyPr lIns="252000" tIns="0" rIns="25200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xmlns="" id="{60F44204-EEB3-4F01-B49E-2A16F4D8A8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4" y="187199"/>
            <a:ext cx="8856000" cy="435600"/>
          </a:xfrm>
        </p:spPr>
        <p:txBody>
          <a:bodyPr anchor="ctr">
            <a:no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58C3FCE9-6C86-484F-A6C3-F0020F94E2ED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C24EC536-6FE3-4540-8D85-74C58F0BF69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Footer Placeholder 5">
            <a:extLst>
              <a:ext uri="{FF2B5EF4-FFF2-40B4-BE49-F238E27FC236}">
                <a16:creationId xmlns:a16="http://schemas.microsoft.com/office/drawing/2014/main" xmlns="" id="{4381DB3D-7433-47D1-AC50-4E4DF78DAB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16400" y="6433200"/>
            <a:ext cx="6123600" cy="255600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900"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726478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2) &amp; Content (2)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1">
            <a:extLst>
              <a:ext uri="{FF2B5EF4-FFF2-40B4-BE49-F238E27FC236}">
                <a16:creationId xmlns:a16="http://schemas.microsoft.com/office/drawing/2014/main" xmlns="" id="{A599E7F5-F415-4C65-8A99-EC0A5EE9793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>
          <a:xfrm>
            <a:off x="263524" y="1376363"/>
            <a:ext cx="3671176" cy="252000"/>
          </a:xfrm>
        </p:spPr>
        <p:txBody>
          <a:bodyPr lIns="0" tIns="0" rIns="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Content Placeholder 3">
            <a:extLst>
              <a:ext uri="{FF2B5EF4-FFF2-40B4-BE49-F238E27FC236}">
                <a16:creationId xmlns:a16="http://schemas.microsoft.com/office/drawing/2014/main" xmlns="" id="{27E9E322-46EC-4812-B19E-68EF57BB65AB}"/>
              </a:ext>
            </a:extLst>
          </p:cNvPr>
          <p:cNvSpPr>
            <a:spLocks noGrp="1"/>
          </p:cNvSpPr>
          <p:nvPr>
            <p:ph sz="quarter" idx="19"/>
          </p:nvPr>
        </p:nvSpPr>
        <p:spPr bwMode="gray">
          <a:xfrm>
            <a:off x="263524" y="1747582"/>
            <a:ext cx="3671175" cy="4597664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Text Placeholder 11">
            <a:extLst>
              <a:ext uri="{FF2B5EF4-FFF2-40B4-BE49-F238E27FC236}">
                <a16:creationId xmlns:a16="http://schemas.microsoft.com/office/drawing/2014/main" xmlns="" id="{7AECB15B-5F0D-4632-BB23-2A56F9E9A20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 bwMode="gray">
          <a:xfrm>
            <a:off x="4366170" y="1376363"/>
            <a:ext cx="7545699" cy="252000"/>
          </a:xfrm>
        </p:spPr>
        <p:txBody>
          <a:bodyPr lIns="0" tIns="0" rIns="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Content Placeholder 3">
            <a:extLst>
              <a:ext uri="{FF2B5EF4-FFF2-40B4-BE49-F238E27FC236}">
                <a16:creationId xmlns:a16="http://schemas.microsoft.com/office/drawing/2014/main" xmlns="" id="{E9CCB12E-B98C-43F0-816E-4E115D505FDA}"/>
              </a:ext>
            </a:extLst>
          </p:cNvPr>
          <p:cNvSpPr>
            <a:spLocks noGrp="1"/>
          </p:cNvSpPr>
          <p:nvPr>
            <p:ph sz="quarter" idx="20"/>
          </p:nvPr>
        </p:nvSpPr>
        <p:spPr bwMode="gray">
          <a:xfrm>
            <a:off x="4365111" y="1747581"/>
            <a:ext cx="7560915" cy="4597657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xmlns="" id="{C9BC0EB3-0C96-4FAD-BB70-3339053B89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4" y="187199"/>
            <a:ext cx="8856000" cy="435600"/>
          </a:xfrm>
        </p:spPr>
        <p:txBody>
          <a:bodyPr anchor="ctr">
            <a:no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7D709718-154C-4117-B81B-8D8A3FB3AB10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C24EC536-6FE3-4540-8D85-74C58F0BF69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Footer Placeholder 5">
            <a:extLst>
              <a:ext uri="{FF2B5EF4-FFF2-40B4-BE49-F238E27FC236}">
                <a16:creationId xmlns:a16="http://schemas.microsoft.com/office/drawing/2014/main" xmlns="" id="{D9570EDF-BB99-46E9-918F-CF0BCDF2BB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16400" y="6433200"/>
            <a:ext cx="6123600" cy="255600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900"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984680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1.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グループ化 39">
            <a:extLst>
              <a:ext uri="{FF2B5EF4-FFF2-40B4-BE49-F238E27FC236}">
                <a16:creationId xmlns:a16="http://schemas.microsoft.com/office/drawing/2014/main" xmlns="" id="{B3FFABD1-269F-4846-BFA7-64B93DCEC6FF}"/>
              </a:ext>
            </a:extLst>
          </p:cNvPr>
          <p:cNvGrpSpPr/>
          <p:nvPr userDrawn="1"/>
        </p:nvGrpSpPr>
        <p:grpSpPr bwMode="gray">
          <a:xfrm>
            <a:off x="0" y="2708310"/>
            <a:ext cx="12193203" cy="131544"/>
            <a:chOff x="324487" y="2057426"/>
            <a:chExt cx="8104303" cy="97488"/>
          </a:xfrm>
        </p:grpSpPr>
        <p:sp>
          <p:nvSpPr>
            <p:cNvPr id="9" name="正方形/長方形 11">
              <a:extLst>
                <a:ext uri="{FF2B5EF4-FFF2-40B4-BE49-F238E27FC236}">
                  <a16:creationId xmlns:a16="http://schemas.microsoft.com/office/drawing/2014/main" xmlns="" id="{4E3F898B-5217-45A3-AF93-4EDA063B5749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324489" y="2057426"/>
              <a:ext cx="8104301" cy="97488"/>
            </a:xfrm>
            <a:prstGeom prst="rect">
              <a:avLst/>
            </a:prstGeom>
            <a:solidFill>
              <a:srgbClr val="7373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>
                <a:defRPr/>
              </a:pPr>
              <a:endParaRPr lang="en-US" altLang="ja-JP" sz="4623" dirty="0"/>
            </a:p>
          </p:txBody>
        </p:sp>
        <p:grpSp>
          <p:nvGrpSpPr>
            <p:cNvPr id="10" name="グループ化 16">
              <a:extLst>
                <a:ext uri="{FF2B5EF4-FFF2-40B4-BE49-F238E27FC236}">
                  <a16:creationId xmlns:a16="http://schemas.microsoft.com/office/drawing/2014/main" xmlns="" id="{CEAA1F3A-29E0-4030-B5D2-D5DBBF92BB2E}"/>
                </a:ext>
              </a:extLst>
            </p:cNvPr>
            <p:cNvGrpSpPr/>
            <p:nvPr/>
          </p:nvGrpSpPr>
          <p:grpSpPr bwMode="gray">
            <a:xfrm>
              <a:off x="324487" y="2057426"/>
              <a:ext cx="1945319" cy="97488"/>
              <a:chOff x="312738" y="2747963"/>
              <a:chExt cx="1976699" cy="109537"/>
            </a:xfrm>
          </p:grpSpPr>
          <p:sp>
            <p:nvSpPr>
              <p:cNvPr id="11" name="正方形/長方形 42">
                <a:extLst>
                  <a:ext uri="{FF2B5EF4-FFF2-40B4-BE49-F238E27FC236}">
                    <a16:creationId xmlns:a16="http://schemas.microsoft.com/office/drawing/2014/main" xmlns="" id="{6DDE0990-A36E-471E-933F-CBBD7D5F100B}"/>
                  </a:ext>
                </a:extLst>
              </p:cNvPr>
              <p:cNvSpPr/>
              <p:nvPr/>
            </p:nvSpPr>
            <p:spPr bwMode="gray">
              <a:xfrm>
                <a:off x="312738" y="2747963"/>
                <a:ext cx="1976699" cy="109537"/>
              </a:xfrm>
              <a:prstGeom prst="rect">
                <a:avLst/>
              </a:prstGeom>
              <a:solidFill>
                <a:srgbClr val="FF0026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en-US" altLang="ja-JP" sz="2400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2" name="正方形/長方形 43">
                <a:extLst>
                  <a:ext uri="{FF2B5EF4-FFF2-40B4-BE49-F238E27FC236}">
                    <a16:creationId xmlns:a16="http://schemas.microsoft.com/office/drawing/2014/main" xmlns="" id="{CCC91D33-C000-46EE-8043-68A33CD8C5CB}"/>
                  </a:ext>
                </a:extLst>
              </p:cNvPr>
              <p:cNvSpPr/>
              <p:nvPr/>
            </p:nvSpPr>
            <p:spPr bwMode="gray">
              <a:xfrm>
                <a:off x="312738" y="2747963"/>
                <a:ext cx="1077094" cy="109537"/>
              </a:xfrm>
              <a:prstGeom prst="rect">
                <a:avLst/>
              </a:prstGeom>
              <a:solidFill>
                <a:srgbClr val="B3B3B3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en-US" altLang="ja-JP" sz="2400" kern="0" dirty="0">
                  <a:solidFill>
                    <a:sysClr val="windowText" lastClr="000000"/>
                  </a:solidFill>
                </a:endParaRPr>
              </a:p>
            </p:txBody>
          </p:sp>
        </p:grpSp>
      </p:grpSp>
      <p:pic>
        <p:nvPicPr>
          <p:cNvPr id="14" name="Graphic 13">
            <a:extLst>
              <a:ext uri="{FF2B5EF4-FFF2-40B4-BE49-F238E27FC236}">
                <a16:creationId xmlns:a16="http://schemas.microsoft.com/office/drawing/2014/main" xmlns="" id="{F8698C6D-D2EA-437A-876C-9E6155B91B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9100800" y="6372000"/>
            <a:ext cx="2661221" cy="36360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xmlns="" id="{A6D536B5-B05C-48FB-A470-403897ADA0C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403200" y="522000"/>
            <a:ext cx="2359426" cy="674919"/>
          </a:xfrm>
          <a:prstGeom prst="rect">
            <a:avLst/>
          </a:prstGeom>
        </p:spPr>
      </p:pic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xmlns="" id="{CEA0F644-66A0-4751-967F-CC294072E62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4EC536-6FE3-4540-8D85-74C58F0BF69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37538650-C20C-4DFC-8B0E-3A4E7D1DB3C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416400" y="6433200"/>
            <a:ext cx="5040000" cy="25560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15" name="text" descr="{&#10; &quot;SkabelonDesign&quot;: {&#10; &quot;textualValue&quot;: &quot;&lt;key1/&gt;&quot;,&#10; &quot;bindingCollection&quot;: {&#10; &quot;key1&quot;: {&quot;SkabelonDesign&quot;:{&quot;type&quot;:&quot;Text&quot;,&quot;binding&quot;:&quot;Copyright&quot;}}&#10; }&#10; }&#10;}">
            <a:extLst>
              <a:ext uri="{FF2B5EF4-FFF2-40B4-BE49-F238E27FC236}">
                <a16:creationId xmlns:a16="http://schemas.microsoft.com/office/drawing/2014/main" xmlns="" id="{E8FD1A76-2CD3-4660-8FE9-871856FF2FAF}"/>
              </a:ext>
            </a:extLst>
          </p:cNvPr>
          <p:cNvSpPr txBox="1"/>
          <p:nvPr userDrawn="1"/>
        </p:nvSpPr>
        <p:spPr bwMode="gray">
          <a:xfrm>
            <a:off x="777600" y="6543351"/>
            <a:ext cx="2433600" cy="16920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0" i="0" u="none" strike="noStrike" kern="1200" cap="none" spc="-1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© 2023 Hitachi Energy. All rights reserved.</a:t>
            </a:r>
            <a:endParaRPr kumimoji="0" lang="en-GB" sz="900" b="0" i="0" u="none" strike="noStrike" kern="1200" cap="none" spc="-1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9" name="text" descr="{&#10; &quot;SkabelonDesign&quot;: {&#10; &quot;textualValue&quot;: &quot;&lt;key1/&gt;&quot;,&#10; &quot;bindingCollection&quot;: {&#10; &quot;key1&quot;: {&quot;SkabelonDesign&quot;:{&quot;type&quot;:&quot;Text&quot;,&quot;binding&quot;:&quot;SecurityLevel&quot;}}&#10; }&#10; }&#10;}">
            <a:extLst>
              <a:ext uri="{FF2B5EF4-FFF2-40B4-BE49-F238E27FC236}">
                <a16:creationId xmlns:a16="http://schemas.microsoft.com/office/drawing/2014/main" xmlns="" id="{CB7D391F-DEEA-473B-B070-85560DC4D0B9}"/>
              </a:ext>
            </a:extLst>
          </p:cNvPr>
          <p:cNvSpPr txBox="1"/>
          <p:nvPr userDrawn="1"/>
        </p:nvSpPr>
        <p:spPr bwMode="gray">
          <a:xfrm>
            <a:off x="777600" y="6411600"/>
            <a:ext cx="2433600" cy="16920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l-PL" sz="900" b="0" i="0" u="none" strike="noStrike" kern="1200" cap="none" spc="-1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ublic</a:t>
            </a:r>
            <a:endParaRPr kumimoji="0" lang="en-GB" sz="900" b="0" i="0" u="none" strike="noStrike" kern="1200" cap="none" spc="-1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xmlns="" id="{D887DE71-30BD-4632-8360-B13349276B0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95639" y="3225600"/>
            <a:ext cx="8815185" cy="666000"/>
          </a:xfrm>
        </p:spPr>
        <p:txBody>
          <a:bodyPr anchor="t"/>
          <a:lstStyle>
            <a:lvl1pPr algn="l"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Divider</a:t>
            </a:r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xmlns="" id="{78E059F7-1D4A-431E-820A-739E9C3EEB4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94566" y="3945041"/>
            <a:ext cx="8815185" cy="648000"/>
          </a:xfrm>
        </p:spPr>
        <p:txBody>
          <a:bodyPr lIns="36000" tIns="0"/>
          <a:lstStyle>
            <a:lvl1pPr marL="0" indent="0" algn="l">
              <a:buNone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Version 1.0</a:t>
            </a:r>
          </a:p>
        </p:txBody>
      </p:sp>
    </p:spTree>
    <p:extLst>
      <p:ext uri="{BB962C8B-B14F-4D97-AF65-F5344CB8AC3E}">
        <p14:creationId xmlns:p14="http://schemas.microsoft.com/office/powerpoint/2010/main" val="187849001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2) &amp; Content (2) &amp; Box (v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1">
            <a:extLst>
              <a:ext uri="{FF2B5EF4-FFF2-40B4-BE49-F238E27FC236}">
                <a16:creationId xmlns:a16="http://schemas.microsoft.com/office/drawing/2014/main" xmlns="" id="{AD71F2CD-2ABA-47E7-80A2-CB490649539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>
          <a:xfrm>
            <a:off x="263524" y="1376363"/>
            <a:ext cx="3671176" cy="252000"/>
          </a:xfrm>
        </p:spPr>
        <p:txBody>
          <a:bodyPr lIns="0" tIns="0" rIns="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Content Placeholder 3">
            <a:extLst>
              <a:ext uri="{FF2B5EF4-FFF2-40B4-BE49-F238E27FC236}">
                <a16:creationId xmlns:a16="http://schemas.microsoft.com/office/drawing/2014/main" xmlns="" id="{12D8E76E-A1D6-4C7B-AC9A-D9C66C06AF94}"/>
              </a:ext>
            </a:extLst>
          </p:cNvPr>
          <p:cNvSpPr>
            <a:spLocks noGrp="1"/>
          </p:cNvSpPr>
          <p:nvPr>
            <p:ph sz="quarter" idx="19"/>
          </p:nvPr>
        </p:nvSpPr>
        <p:spPr bwMode="gray">
          <a:xfrm>
            <a:off x="263524" y="1747582"/>
            <a:ext cx="3671175" cy="3750082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xmlns="" id="{0D895BA9-38D6-49B2-82EE-7B980725286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 bwMode="gray">
          <a:xfrm>
            <a:off x="4366170" y="1376363"/>
            <a:ext cx="7545699" cy="252000"/>
          </a:xfrm>
        </p:spPr>
        <p:txBody>
          <a:bodyPr lIns="0" tIns="0" rIns="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2" name="Content Placeholder 3">
            <a:extLst>
              <a:ext uri="{FF2B5EF4-FFF2-40B4-BE49-F238E27FC236}">
                <a16:creationId xmlns:a16="http://schemas.microsoft.com/office/drawing/2014/main" xmlns="" id="{6071C9E5-62CE-489F-BACC-9EE6ECE4F55F}"/>
              </a:ext>
            </a:extLst>
          </p:cNvPr>
          <p:cNvSpPr>
            <a:spLocks noGrp="1"/>
          </p:cNvSpPr>
          <p:nvPr>
            <p:ph sz="quarter" idx="20"/>
          </p:nvPr>
        </p:nvSpPr>
        <p:spPr bwMode="gray">
          <a:xfrm>
            <a:off x="4365111" y="1747582"/>
            <a:ext cx="7560915" cy="3750076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xmlns="" id="{1BDAA8F4-93B7-40C6-881D-E92B143E296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 bwMode="gray">
          <a:xfrm>
            <a:off x="0" y="5805264"/>
            <a:ext cx="12192000" cy="539974"/>
          </a:xfrm>
          <a:solidFill>
            <a:srgbClr val="D9D9D9"/>
          </a:solidFill>
        </p:spPr>
        <p:txBody>
          <a:bodyPr lIns="252000" tIns="0" rIns="25200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xmlns="" id="{3669DD4F-6CD1-4129-972D-E8E5288D56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4" y="187199"/>
            <a:ext cx="8856000" cy="435600"/>
          </a:xfrm>
        </p:spPr>
        <p:txBody>
          <a:bodyPr anchor="ctr">
            <a:no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C712DBCD-C109-41A7-A6F0-127DF4C5A2B1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C24EC536-6FE3-4540-8D85-74C58F0BF69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Footer Placeholder 5">
            <a:extLst>
              <a:ext uri="{FF2B5EF4-FFF2-40B4-BE49-F238E27FC236}">
                <a16:creationId xmlns:a16="http://schemas.microsoft.com/office/drawing/2014/main" xmlns="" id="{C5859B44-29F5-4115-9292-B9989893B32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16400" y="6433200"/>
            <a:ext cx="6123600" cy="255600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900"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1499892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3) &amp; Content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 Placeholder 11">
            <a:extLst>
              <a:ext uri="{FF2B5EF4-FFF2-40B4-BE49-F238E27FC236}">
                <a16:creationId xmlns:a16="http://schemas.microsoft.com/office/drawing/2014/main" xmlns="" id="{3B05BF5E-4371-47AB-A1FF-B10995CF22F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>
          <a:xfrm>
            <a:off x="263525" y="4870312"/>
            <a:ext cx="2952153" cy="252000"/>
          </a:xfrm>
        </p:spPr>
        <p:txBody>
          <a:bodyPr lIns="0" tIns="0" rIns="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11">
            <a:extLst>
              <a:ext uri="{FF2B5EF4-FFF2-40B4-BE49-F238E27FC236}">
                <a16:creationId xmlns:a16="http://schemas.microsoft.com/office/drawing/2014/main" xmlns="" id="{6C90D6E3-10FE-4F7A-9BC6-9EE50B88556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>
          <a:xfrm>
            <a:off x="263525" y="1378657"/>
            <a:ext cx="2952156" cy="252000"/>
          </a:xfrm>
        </p:spPr>
        <p:txBody>
          <a:bodyPr lIns="0" tIns="0" rIns="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11">
            <a:extLst>
              <a:ext uri="{FF2B5EF4-FFF2-40B4-BE49-F238E27FC236}">
                <a16:creationId xmlns:a16="http://schemas.microsoft.com/office/drawing/2014/main" xmlns="" id="{316FDD13-2FD3-4BDC-92B0-6E2A4E622EE2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>
          <a:xfrm>
            <a:off x="263523" y="3136258"/>
            <a:ext cx="2952155" cy="252000"/>
          </a:xfrm>
        </p:spPr>
        <p:txBody>
          <a:bodyPr lIns="0" tIns="0" rIns="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xmlns="" id="{E2783D5F-0057-4639-BF27-31ED9E0868C1}"/>
              </a:ext>
            </a:extLst>
          </p:cNvPr>
          <p:cNvSpPr>
            <a:spLocks noGrp="1"/>
          </p:cNvSpPr>
          <p:nvPr>
            <p:ph sz="quarter" idx="26"/>
          </p:nvPr>
        </p:nvSpPr>
        <p:spPr bwMode="gray">
          <a:xfrm>
            <a:off x="263525" y="1730324"/>
            <a:ext cx="2952153" cy="1122610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xmlns="" id="{B590CC18-1B6B-4861-868E-A6987D93954C}"/>
              </a:ext>
            </a:extLst>
          </p:cNvPr>
          <p:cNvSpPr>
            <a:spLocks noGrp="1"/>
          </p:cNvSpPr>
          <p:nvPr>
            <p:ph sz="quarter" idx="27"/>
          </p:nvPr>
        </p:nvSpPr>
        <p:spPr bwMode="gray">
          <a:xfrm>
            <a:off x="263525" y="3496487"/>
            <a:ext cx="2952153" cy="1086373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2" name="Content Placeholder 3">
            <a:extLst>
              <a:ext uri="{FF2B5EF4-FFF2-40B4-BE49-F238E27FC236}">
                <a16:creationId xmlns:a16="http://schemas.microsoft.com/office/drawing/2014/main" xmlns="" id="{1CBF013C-2857-4ABA-A4A4-FB2F2770E661}"/>
              </a:ext>
            </a:extLst>
          </p:cNvPr>
          <p:cNvSpPr>
            <a:spLocks noGrp="1"/>
          </p:cNvSpPr>
          <p:nvPr>
            <p:ph sz="quarter" idx="28"/>
          </p:nvPr>
        </p:nvSpPr>
        <p:spPr bwMode="gray">
          <a:xfrm>
            <a:off x="263525" y="5248208"/>
            <a:ext cx="2952153" cy="1097030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2" name="Content Placeholder 3">
            <a:extLst>
              <a:ext uri="{FF2B5EF4-FFF2-40B4-BE49-F238E27FC236}">
                <a16:creationId xmlns:a16="http://schemas.microsoft.com/office/drawing/2014/main" xmlns="" id="{76DE9C61-D509-4314-B722-D4958D1B5C13}"/>
              </a:ext>
            </a:extLst>
          </p:cNvPr>
          <p:cNvSpPr>
            <a:spLocks noGrp="1"/>
          </p:cNvSpPr>
          <p:nvPr>
            <p:ph sz="quarter" idx="29"/>
          </p:nvPr>
        </p:nvSpPr>
        <p:spPr bwMode="gray">
          <a:xfrm>
            <a:off x="3503712" y="1376172"/>
            <a:ext cx="8424763" cy="1476762"/>
          </a:xfrm>
        </p:spPr>
        <p:txBody>
          <a:bodyPr lIns="0" tIns="108000" rIns="0" bIns="0"/>
          <a:lstStyle>
            <a:lvl1pPr>
              <a:lnSpc>
                <a:spcPct val="100000"/>
              </a:lnSpc>
              <a:spcBef>
                <a:spcPts val="600"/>
              </a:spcBef>
              <a:defRPr sz="1200"/>
            </a:lvl1pPr>
            <a:lvl2pPr>
              <a:lnSpc>
                <a:spcPct val="100000"/>
              </a:lnSpc>
              <a:spcBef>
                <a:spcPts val="600"/>
              </a:spcBef>
              <a:defRPr sz="1200"/>
            </a:lvl2pPr>
            <a:lvl3pPr>
              <a:lnSpc>
                <a:spcPct val="100000"/>
              </a:lnSpc>
              <a:spcBef>
                <a:spcPts val="600"/>
              </a:spcBef>
              <a:defRPr sz="1200"/>
            </a:lvl3pPr>
            <a:lvl4pPr>
              <a:lnSpc>
                <a:spcPct val="100000"/>
              </a:lnSpc>
              <a:spcBef>
                <a:spcPts val="600"/>
              </a:spcBef>
              <a:defRPr sz="1200"/>
            </a:lvl4pPr>
            <a:lvl5pPr>
              <a:lnSpc>
                <a:spcPct val="100000"/>
              </a:lnSpc>
              <a:spcBef>
                <a:spcPts val="600"/>
              </a:spcBef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3" name="Content Placeholder 3">
            <a:extLst>
              <a:ext uri="{FF2B5EF4-FFF2-40B4-BE49-F238E27FC236}">
                <a16:creationId xmlns:a16="http://schemas.microsoft.com/office/drawing/2014/main" xmlns="" id="{B07CE416-A776-4B9B-869E-F13DCB2194D7}"/>
              </a:ext>
            </a:extLst>
          </p:cNvPr>
          <p:cNvSpPr>
            <a:spLocks noGrp="1"/>
          </p:cNvSpPr>
          <p:nvPr>
            <p:ph sz="quarter" idx="30"/>
          </p:nvPr>
        </p:nvSpPr>
        <p:spPr bwMode="gray">
          <a:xfrm>
            <a:off x="3503712" y="3125397"/>
            <a:ext cx="8424763" cy="1457464"/>
          </a:xfrm>
        </p:spPr>
        <p:txBody>
          <a:bodyPr lIns="0" tIns="108000" rIns="0" bIns="0"/>
          <a:lstStyle>
            <a:lvl1pPr>
              <a:lnSpc>
                <a:spcPct val="100000"/>
              </a:lnSpc>
              <a:spcBef>
                <a:spcPts val="600"/>
              </a:spcBef>
              <a:defRPr sz="1200"/>
            </a:lvl1pPr>
            <a:lvl2pPr>
              <a:lnSpc>
                <a:spcPct val="100000"/>
              </a:lnSpc>
              <a:spcBef>
                <a:spcPts val="600"/>
              </a:spcBef>
              <a:defRPr sz="1200"/>
            </a:lvl2pPr>
            <a:lvl3pPr>
              <a:lnSpc>
                <a:spcPct val="100000"/>
              </a:lnSpc>
              <a:spcBef>
                <a:spcPts val="600"/>
              </a:spcBef>
              <a:defRPr sz="1200"/>
            </a:lvl3pPr>
            <a:lvl4pPr>
              <a:lnSpc>
                <a:spcPct val="100000"/>
              </a:lnSpc>
              <a:spcBef>
                <a:spcPts val="600"/>
              </a:spcBef>
              <a:defRPr sz="1200"/>
            </a:lvl4pPr>
            <a:lvl5pPr>
              <a:lnSpc>
                <a:spcPct val="100000"/>
              </a:lnSpc>
              <a:spcBef>
                <a:spcPts val="600"/>
              </a:spcBef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4" name="Content Placeholder 3">
            <a:extLst>
              <a:ext uri="{FF2B5EF4-FFF2-40B4-BE49-F238E27FC236}">
                <a16:creationId xmlns:a16="http://schemas.microsoft.com/office/drawing/2014/main" xmlns="" id="{768861B8-49F9-4E24-A37A-AC60CAABF377}"/>
              </a:ext>
            </a:extLst>
          </p:cNvPr>
          <p:cNvSpPr>
            <a:spLocks noGrp="1"/>
          </p:cNvSpPr>
          <p:nvPr>
            <p:ph sz="quarter" idx="31"/>
          </p:nvPr>
        </p:nvSpPr>
        <p:spPr bwMode="gray">
          <a:xfrm>
            <a:off x="3503712" y="4887774"/>
            <a:ext cx="8424763" cy="1457464"/>
          </a:xfrm>
        </p:spPr>
        <p:txBody>
          <a:bodyPr lIns="0" tIns="108000" rIns="0" bIns="0"/>
          <a:lstStyle>
            <a:lvl1pPr>
              <a:lnSpc>
                <a:spcPct val="100000"/>
              </a:lnSpc>
              <a:spcBef>
                <a:spcPts val="600"/>
              </a:spcBef>
              <a:defRPr sz="1200"/>
            </a:lvl1pPr>
            <a:lvl2pPr>
              <a:lnSpc>
                <a:spcPct val="100000"/>
              </a:lnSpc>
              <a:spcBef>
                <a:spcPts val="600"/>
              </a:spcBef>
              <a:defRPr sz="1200"/>
            </a:lvl2pPr>
            <a:lvl3pPr>
              <a:lnSpc>
                <a:spcPct val="100000"/>
              </a:lnSpc>
              <a:spcBef>
                <a:spcPts val="600"/>
              </a:spcBef>
              <a:defRPr sz="1200"/>
            </a:lvl3pPr>
            <a:lvl4pPr>
              <a:lnSpc>
                <a:spcPct val="100000"/>
              </a:lnSpc>
              <a:spcBef>
                <a:spcPts val="600"/>
              </a:spcBef>
              <a:defRPr sz="1200"/>
            </a:lvl4pPr>
            <a:lvl5pPr>
              <a:lnSpc>
                <a:spcPct val="100000"/>
              </a:lnSpc>
              <a:spcBef>
                <a:spcPts val="600"/>
              </a:spcBef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xmlns="" id="{82DFEC67-6E2A-46BD-A71B-DEDF2A482B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4" y="187199"/>
            <a:ext cx="8856000" cy="435600"/>
          </a:xfrm>
        </p:spPr>
        <p:txBody>
          <a:bodyPr anchor="ctr">
            <a:no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6FEFC85C-8424-44CD-A63A-4F96F49C3191}"/>
              </a:ext>
            </a:extLst>
          </p:cNvPr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C24EC536-6FE3-4540-8D85-74C58F0BF69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Footer Placeholder 5">
            <a:extLst>
              <a:ext uri="{FF2B5EF4-FFF2-40B4-BE49-F238E27FC236}">
                <a16:creationId xmlns:a16="http://schemas.microsoft.com/office/drawing/2014/main" xmlns="" id="{86528114-0333-4543-95AF-F1B6C4A26E6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16400" y="6433200"/>
            <a:ext cx="6123600" cy="255600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900"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7920246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3) &amp; Content (6) &amp;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 Placeholder 11">
            <a:extLst>
              <a:ext uri="{FF2B5EF4-FFF2-40B4-BE49-F238E27FC236}">
                <a16:creationId xmlns:a16="http://schemas.microsoft.com/office/drawing/2014/main" xmlns="" id="{4EF52691-9CCC-4E90-9911-5B12BEE570C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>
          <a:xfrm>
            <a:off x="263525" y="1380698"/>
            <a:ext cx="2952156" cy="252000"/>
          </a:xfrm>
        </p:spPr>
        <p:txBody>
          <a:bodyPr lIns="0" tIns="0" rIns="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xmlns="" id="{6BFE9AA9-753B-41E3-A0DD-DC664AD2E029}"/>
              </a:ext>
            </a:extLst>
          </p:cNvPr>
          <p:cNvSpPr>
            <a:spLocks noGrp="1"/>
          </p:cNvSpPr>
          <p:nvPr>
            <p:ph sz="quarter" idx="26"/>
          </p:nvPr>
        </p:nvSpPr>
        <p:spPr bwMode="gray">
          <a:xfrm>
            <a:off x="263525" y="1756815"/>
            <a:ext cx="2952153" cy="739879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xmlns="" id="{050C276D-2B61-40CC-9FA8-AE23FE1A7BF5}"/>
              </a:ext>
            </a:extLst>
          </p:cNvPr>
          <p:cNvSpPr>
            <a:spLocks noGrp="1"/>
          </p:cNvSpPr>
          <p:nvPr>
            <p:ph sz="quarter" idx="30"/>
          </p:nvPr>
        </p:nvSpPr>
        <p:spPr bwMode="gray">
          <a:xfrm>
            <a:off x="3503712" y="1376172"/>
            <a:ext cx="8424763" cy="1208528"/>
          </a:xfrm>
        </p:spPr>
        <p:txBody>
          <a:bodyPr lIns="0" tIns="108000" rIns="0" bIns="0"/>
          <a:lstStyle>
            <a:lvl1pPr>
              <a:lnSpc>
                <a:spcPct val="100000"/>
              </a:lnSpc>
              <a:spcBef>
                <a:spcPts val="600"/>
              </a:spcBef>
              <a:defRPr sz="1200"/>
            </a:lvl1pPr>
            <a:lvl2pPr>
              <a:lnSpc>
                <a:spcPct val="100000"/>
              </a:lnSpc>
              <a:spcBef>
                <a:spcPts val="600"/>
              </a:spcBef>
              <a:defRPr sz="1200"/>
            </a:lvl2pPr>
            <a:lvl3pPr>
              <a:lnSpc>
                <a:spcPct val="100000"/>
              </a:lnSpc>
              <a:spcBef>
                <a:spcPts val="600"/>
              </a:spcBef>
              <a:defRPr sz="1200"/>
            </a:lvl3pPr>
            <a:lvl4pPr>
              <a:lnSpc>
                <a:spcPct val="100000"/>
              </a:lnSpc>
              <a:spcBef>
                <a:spcPts val="600"/>
              </a:spcBef>
              <a:defRPr sz="1200"/>
            </a:lvl4pPr>
            <a:lvl5pPr>
              <a:lnSpc>
                <a:spcPct val="100000"/>
              </a:lnSpc>
              <a:spcBef>
                <a:spcPts val="600"/>
              </a:spcBef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31" name="Text Placeholder 11">
            <a:extLst>
              <a:ext uri="{FF2B5EF4-FFF2-40B4-BE49-F238E27FC236}">
                <a16:creationId xmlns:a16="http://schemas.microsoft.com/office/drawing/2014/main" xmlns="" id="{8D141BDE-D9C9-41F9-8359-B351B85CDA1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>
          <a:xfrm>
            <a:off x="263525" y="2902631"/>
            <a:ext cx="2952155" cy="252000"/>
          </a:xfrm>
        </p:spPr>
        <p:txBody>
          <a:bodyPr lIns="0" tIns="0" rIns="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2" name="Content Placeholder 3">
            <a:extLst>
              <a:ext uri="{FF2B5EF4-FFF2-40B4-BE49-F238E27FC236}">
                <a16:creationId xmlns:a16="http://schemas.microsoft.com/office/drawing/2014/main" xmlns="" id="{73465EF4-66D8-44A5-9800-552FABFF1AB5}"/>
              </a:ext>
            </a:extLst>
          </p:cNvPr>
          <p:cNvSpPr>
            <a:spLocks noGrp="1"/>
          </p:cNvSpPr>
          <p:nvPr>
            <p:ph sz="quarter" idx="27"/>
          </p:nvPr>
        </p:nvSpPr>
        <p:spPr bwMode="gray">
          <a:xfrm>
            <a:off x="263525" y="3262861"/>
            <a:ext cx="2952153" cy="720960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34" name="Text Placeholder 11">
            <a:extLst>
              <a:ext uri="{FF2B5EF4-FFF2-40B4-BE49-F238E27FC236}">
                <a16:creationId xmlns:a16="http://schemas.microsoft.com/office/drawing/2014/main" xmlns="" id="{1C770F5A-E529-42AD-8C31-39184B9E342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>
          <a:xfrm>
            <a:off x="275973" y="4394026"/>
            <a:ext cx="2935497" cy="252000"/>
          </a:xfrm>
        </p:spPr>
        <p:txBody>
          <a:bodyPr lIns="0" tIns="0" rIns="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1" name="Content Placeholder 3">
            <a:extLst>
              <a:ext uri="{FF2B5EF4-FFF2-40B4-BE49-F238E27FC236}">
                <a16:creationId xmlns:a16="http://schemas.microsoft.com/office/drawing/2014/main" xmlns="" id="{F4DAC50B-76F8-4A8A-AECB-24981C653257}"/>
              </a:ext>
            </a:extLst>
          </p:cNvPr>
          <p:cNvSpPr>
            <a:spLocks noGrp="1"/>
          </p:cNvSpPr>
          <p:nvPr>
            <p:ph sz="quarter" idx="28"/>
          </p:nvPr>
        </p:nvSpPr>
        <p:spPr bwMode="gray">
          <a:xfrm>
            <a:off x="275973" y="4771922"/>
            <a:ext cx="2952153" cy="720960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2" name="Content Placeholder 3">
            <a:extLst>
              <a:ext uri="{FF2B5EF4-FFF2-40B4-BE49-F238E27FC236}">
                <a16:creationId xmlns:a16="http://schemas.microsoft.com/office/drawing/2014/main" xmlns="" id="{5D891E61-D8AD-42D7-9D9D-031BF8EE4B4E}"/>
              </a:ext>
            </a:extLst>
          </p:cNvPr>
          <p:cNvSpPr>
            <a:spLocks noGrp="1"/>
          </p:cNvSpPr>
          <p:nvPr>
            <p:ph sz="quarter" idx="31"/>
          </p:nvPr>
        </p:nvSpPr>
        <p:spPr bwMode="gray">
          <a:xfrm>
            <a:off x="3503712" y="2904037"/>
            <a:ext cx="8424763" cy="1208528"/>
          </a:xfrm>
        </p:spPr>
        <p:txBody>
          <a:bodyPr lIns="0" tIns="108000" rIns="0" bIns="0"/>
          <a:lstStyle>
            <a:lvl1pPr>
              <a:lnSpc>
                <a:spcPct val="100000"/>
              </a:lnSpc>
              <a:spcBef>
                <a:spcPts val="600"/>
              </a:spcBef>
              <a:defRPr sz="1200"/>
            </a:lvl1pPr>
            <a:lvl2pPr>
              <a:lnSpc>
                <a:spcPct val="100000"/>
              </a:lnSpc>
              <a:spcBef>
                <a:spcPts val="600"/>
              </a:spcBef>
              <a:defRPr sz="1200"/>
            </a:lvl2pPr>
            <a:lvl3pPr>
              <a:lnSpc>
                <a:spcPct val="100000"/>
              </a:lnSpc>
              <a:spcBef>
                <a:spcPts val="600"/>
              </a:spcBef>
              <a:defRPr sz="1200"/>
            </a:lvl3pPr>
            <a:lvl4pPr>
              <a:lnSpc>
                <a:spcPct val="100000"/>
              </a:lnSpc>
              <a:spcBef>
                <a:spcPts val="600"/>
              </a:spcBef>
              <a:defRPr sz="1200"/>
            </a:lvl4pPr>
            <a:lvl5pPr>
              <a:lnSpc>
                <a:spcPct val="100000"/>
              </a:lnSpc>
              <a:spcBef>
                <a:spcPts val="600"/>
              </a:spcBef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3" name="Content Placeholder 3">
            <a:extLst>
              <a:ext uri="{FF2B5EF4-FFF2-40B4-BE49-F238E27FC236}">
                <a16:creationId xmlns:a16="http://schemas.microsoft.com/office/drawing/2014/main" xmlns="" id="{35F881D5-BB6A-4F6C-80FC-64D9F2EE741B}"/>
              </a:ext>
            </a:extLst>
          </p:cNvPr>
          <p:cNvSpPr>
            <a:spLocks noGrp="1"/>
          </p:cNvSpPr>
          <p:nvPr>
            <p:ph sz="quarter" idx="32"/>
          </p:nvPr>
        </p:nvSpPr>
        <p:spPr bwMode="gray">
          <a:xfrm>
            <a:off x="3503712" y="4398803"/>
            <a:ext cx="8424763" cy="1208528"/>
          </a:xfrm>
        </p:spPr>
        <p:txBody>
          <a:bodyPr lIns="0" tIns="108000" rIns="0" bIns="0"/>
          <a:lstStyle>
            <a:lvl1pPr>
              <a:lnSpc>
                <a:spcPct val="100000"/>
              </a:lnSpc>
              <a:spcBef>
                <a:spcPts val="600"/>
              </a:spcBef>
              <a:defRPr sz="1200"/>
            </a:lvl1pPr>
            <a:lvl2pPr>
              <a:lnSpc>
                <a:spcPct val="100000"/>
              </a:lnSpc>
              <a:spcBef>
                <a:spcPts val="600"/>
              </a:spcBef>
              <a:defRPr sz="1200"/>
            </a:lvl2pPr>
            <a:lvl3pPr>
              <a:lnSpc>
                <a:spcPct val="100000"/>
              </a:lnSpc>
              <a:spcBef>
                <a:spcPts val="600"/>
              </a:spcBef>
              <a:defRPr sz="1200"/>
            </a:lvl3pPr>
            <a:lvl4pPr>
              <a:lnSpc>
                <a:spcPct val="100000"/>
              </a:lnSpc>
              <a:spcBef>
                <a:spcPts val="600"/>
              </a:spcBef>
              <a:defRPr sz="1200"/>
            </a:lvl4pPr>
            <a:lvl5pPr>
              <a:lnSpc>
                <a:spcPct val="100000"/>
              </a:lnSpc>
              <a:spcBef>
                <a:spcPts val="600"/>
              </a:spcBef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xmlns="" id="{2D362199-6D4B-4B90-B6A1-5E71DFDDBBF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 bwMode="gray">
          <a:xfrm>
            <a:off x="0" y="5805264"/>
            <a:ext cx="12192000" cy="539974"/>
          </a:xfrm>
          <a:solidFill>
            <a:srgbClr val="D9D9D9"/>
          </a:solidFill>
        </p:spPr>
        <p:txBody>
          <a:bodyPr lIns="252000" tIns="0" rIns="25200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xmlns="" id="{A20A5915-B847-497E-8CE3-06F002BDFC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4" y="187199"/>
            <a:ext cx="8856000" cy="435600"/>
          </a:xfrm>
        </p:spPr>
        <p:txBody>
          <a:bodyPr anchor="ctr">
            <a:no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EE7E9A74-B369-4964-8A1E-229B50EC86F9}"/>
              </a:ext>
            </a:extLst>
          </p:cNvPr>
          <p:cNvSpPr>
            <a:spLocks noGrp="1"/>
          </p:cNvSpPr>
          <p:nvPr>
            <p:ph type="sldNum" sz="quarter" idx="40"/>
          </p:nvPr>
        </p:nvSpPr>
        <p:spPr/>
        <p:txBody>
          <a:bodyPr/>
          <a:lstStyle/>
          <a:p>
            <a:fld id="{C24EC536-6FE3-4540-8D85-74C58F0BF69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Footer Placeholder 5">
            <a:extLst>
              <a:ext uri="{FF2B5EF4-FFF2-40B4-BE49-F238E27FC236}">
                <a16:creationId xmlns:a16="http://schemas.microsoft.com/office/drawing/2014/main" xmlns="" id="{02B37D9A-84F7-4FC5-A2FB-906DA85B83D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16400" y="6433200"/>
            <a:ext cx="6123600" cy="255600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900"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2213649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3) &amp; Conten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3">
            <a:extLst>
              <a:ext uri="{FF2B5EF4-FFF2-40B4-BE49-F238E27FC236}">
                <a16:creationId xmlns:a16="http://schemas.microsoft.com/office/drawing/2014/main" xmlns="" id="{EAD88574-00B8-4D9B-93EB-50F073EEE67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489049" y="1376364"/>
            <a:ext cx="8437840" cy="4968873"/>
          </a:xfrm>
          <a:noFill/>
        </p:spPr>
        <p:txBody>
          <a:bodyPr tIns="756000" anchor="ctr"/>
          <a:lstStyle>
            <a:lvl1pPr algn="ctr">
              <a:defRPr>
                <a:solidFill>
                  <a:srgbClr val="737373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xmlns="" id="{D200B697-7AE4-424E-83E6-544B82503EE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>
          <a:xfrm>
            <a:off x="280181" y="4985012"/>
            <a:ext cx="2935497" cy="252000"/>
          </a:xfrm>
        </p:spPr>
        <p:txBody>
          <a:bodyPr lIns="0" tIns="0" rIns="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Text Placeholder 11">
            <a:extLst>
              <a:ext uri="{FF2B5EF4-FFF2-40B4-BE49-F238E27FC236}">
                <a16:creationId xmlns:a16="http://schemas.microsoft.com/office/drawing/2014/main" xmlns="" id="{DC4BA68C-5B4C-4A6C-846E-96C50FE50D7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 bwMode="gray">
          <a:xfrm>
            <a:off x="263525" y="1379474"/>
            <a:ext cx="2952156" cy="252000"/>
          </a:xfrm>
        </p:spPr>
        <p:txBody>
          <a:bodyPr lIns="0" tIns="0" rIns="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xmlns="" id="{5EDA259E-FC8F-43D1-B501-E3CEAB636702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>
          <a:xfrm>
            <a:off x="263523" y="3177353"/>
            <a:ext cx="2952155" cy="252000"/>
          </a:xfrm>
        </p:spPr>
        <p:txBody>
          <a:bodyPr lIns="0" tIns="0" rIns="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2" name="Content Placeholder 3">
            <a:extLst>
              <a:ext uri="{FF2B5EF4-FFF2-40B4-BE49-F238E27FC236}">
                <a16:creationId xmlns:a16="http://schemas.microsoft.com/office/drawing/2014/main" xmlns="" id="{374300A6-D16D-4065-B7F9-8A14A4823F9B}"/>
              </a:ext>
            </a:extLst>
          </p:cNvPr>
          <p:cNvSpPr>
            <a:spLocks noGrp="1"/>
          </p:cNvSpPr>
          <p:nvPr>
            <p:ph sz="quarter" idx="27"/>
          </p:nvPr>
        </p:nvSpPr>
        <p:spPr bwMode="gray">
          <a:xfrm>
            <a:off x="263525" y="1740921"/>
            <a:ext cx="2952153" cy="1008108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xmlns="" id="{B7BF585E-C297-4501-AF84-9BD4BE063F94}"/>
              </a:ext>
            </a:extLst>
          </p:cNvPr>
          <p:cNvSpPr>
            <a:spLocks noGrp="1"/>
          </p:cNvSpPr>
          <p:nvPr>
            <p:ph sz="quarter" idx="28"/>
          </p:nvPr>
        </p:nvSpPr>
        <p:spPr bwMode="gray">
          <a:xfrm>
            <a:off x="263525" y="3564803"/>
            <a:ext cx="2952153" cy="982330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xmlns="" id="{AB88D336-5640-4086-8C90-556FE2D9D99E}"/>
              </a:ext>
            </a:extLst>
          </p:cNvPr>
          <p:cNvSpPr>
            <a:spLocks noGrp="1"/>
          </p:cNvSpPr>
          <p:nvPr>
            <p:ph sz="quarter" idx="29"/>
          </p:nvPr>
        </p:nvSpPr>
        <p:spPr bwMode="gray">
          <a:xfrm>
            <a:off x="263525" y="5362908"/>
            <a:ext cx="2952153" cy="982330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xmlns="" id="{AA928351-B87F-49BA-ACE8-AE4121245B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4" y="187199"/>
            <a:ext cx="8856000" cy="435600"/>
          </a:xfrm>
        </p:spPr>
        <p:txBody>
          <a:bodyPr anchor="ctr">
            <a:no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1E241C3F-0122-46DF-8F86-BE4B98737889}"/>
              </a:ext>
            </a:extLst>
          </p:cNvPr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C24EC536-6FE3-4540-8D85-74C58F0BF69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Footer Placeholder 5">
            <a:extLst>
              <a:ext uri="{FF2B5EF4-FFF2-40B4-BE49-F238E27FC236}">
                <a16:creationId xmlns:a16="http://schemas.microsoft.com/office/drawing/2014/main" xmlns="" id="{2800C0ED-E572-49FB-B072-C0952C26F2C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16400" y="6433200"/>
            <a:ext cx="6123600" cy="255600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900"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0201645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3) &amp; Content (4) &amp;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3">
            <a:extLst>
              <a:ext uri="{FF2B5EF4-FFF2-40B4-BE49-F238E27FC236}">
                <a16:creationId xmlns:a16="http://schemas.microsoft.com/office/drawing/2014/main" xmlns="" id="{9CC6681E-BC33-4CAF-AFB3-EBB43BD322E0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489049" y="1376364"/>
            <a:ext cx="8437840" cy="4264475"/>
          </a:xfrm>
          <a:noFill/>
        </p:spPr>
        <p:txBody>
          <a:bodyPr tIns="756000" anchor="ctr"/>
          <a:lstStyle>
            <a:lvl1pPr algn="ctr">
              <a:defRPr>
                <a:solidFill>
                  <a:srgbClr val="737373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xmlns="" id="{A456FEF9-EFA3-4797-83EF-F48AA5968C8F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 bwMode="gray">
          <a:xfrm>
            <a:off x="263525" y="1381254"/>
            <a:ext cx="2952156" cy="252000"/>
          </a:xfrm>
        </p:spPr>
        <p:txBody>
          <a:bodyPr lIns="0" tIns="0" rIns="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Content Placeholder 3">
            <a:extLst>
              <a:ext uri="{FF2B5EF4-FFF2-40B4-BE49-F238E27FC236}">
                <a16:creationId xmlns:a16="http://schemas.microsoft.com/office/drawing/2014/main" xmlns="" id="{418C37B3-FDA7-4582-A6B2-DF971CCAAD37}"/>
              </a:ext>
            </a:extLst>
          </p:cNvPr>
          <p:cNvSpPr>
            <a:spLocks noGrp="1"/>
          </p:cNvSpPr>
          <p:nvPr>
            <p:ph sz="quarter" idx="26"/>
          </p:nvPr>
        </p:nvSpPr>
        <p:spPr bwMode="gray">
          <a:xfrm>
            <a:off x="263525" y="1747591"/>
            <a:ext cx="2952153" cy="739879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3" name="Text Placeholder 11">
            <a:extLst>
              <a:ext uri="{FF2B5EF4-FFF2-40B4-BE49-F238E27FC236}">
                <a16:creationId xmlns:a16="http://schemas.microsoft.com/office/drawing/2014/main" xmlns="" id="{73138666-4D60-430D-84CA-98923051AE9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>
          <a:xfrm>
            <a:off x="263525" y="2936202"/>
            <a:ext cx="2952155" cy="252000"/>
          </a:xfrm>
        </p:spPr>
        <p:txBody>
          <a:bodyPr lIns="0" tIns="0" rIns="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xmlns="" id="{7F262DA2-6165-4B36-88C9-DAE3B63AD4F1}"/>
              </a:ext>
            </a:extLst>
          </p:cNvPr>
          <p:cNvSpPr>
            <a:spLocks noGrp="1"/>
          </p:cNvSpPr>
          <p:nvPr>
            <p:ph sz="quarter" idx="27"/>
          </p:nvPr>
        </p:nvSpPr>
        <p:spPr bwMode="gray">
          <a:xfrm>
            <a:off x="263525" y="3320223"/>
            <a:ext cx="2952153" cy="720960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6" name="Text Placeholder 11">
            <a:extLst>
              <a:ext uri="{FF2B5EF4-FFF2-40B4-BE49-F238E27FC236}">
                <a16:creationId xmlns:a16="http://schemas.microsoft.com/office/drawing/2014/main" xmlns="" id="{88847DCA-998F-4A45-800E-CAFE0984C32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>
          <a:xfrm>
            <a:off x="275973" y="4496041"/>
            <a:ext cx="2935497" cy="252000"/>
          </a:xfrm>
        </p:spPr>
        <p:txBody>
          <a:bodyPr lIns="0" tIns="0" rIns="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Content Placeholder 3">
            <a:extLst>
              <a:ext uri="{FF2B5EF4-FFF2-40B4-BE49-F238E27FC236}">
                <a16:creationId xmlns:a16="http://schemas.microsoft.com/office/drawing/2014/main" xmlns="" id="{C16325E6-C1F6-4393-A300-FB4F110973D8}"/>
              </a:ext>
            </a:extLst>
          </p:cNvPr>
          <p:cNvSpPr>
            <a:spLocks noGrp="1"/>
          </p:cNvSpPr>
          <p:nvPr>
            <p:ph sz="quarter" idx="28"/>
          </p:nvPr>
        </p:nvSpPr>
        <p:spPr bwMode="gray">
          <a:xfrm>
            <a:off x="275973" y="4873937"/>
            <a:ext cx="2952153" cy="720960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xmlns="" id="{F9EB9EBF-A7BC-402C-B3E0-262AB3649DD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 bwMode="gray">
          <a:xfrm>
            <a:off x="0" y="5805264"/>
            <a:ext cx="12192000" cy="539974"/>
          </a:xfrm>
          <a:solidFill>
            <a:srgbClr val="D9D9D9"/>
          </a:solidFill>
        </p:spPr>
        <p:txBody>
          <a:bodyPr lIns="252000" tIns="0" rIns="25200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xmlns="" id="{6F663D08-3767-42E7-8213-FF35A9ED0D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4" y="187199"/>
            <a:ext cx="8856000" cy="435600"/>
          </a:xfrm>
        </p:spPr>
        <p:txBody>
          <a:bodyPr anchor="ctr">
            <a:no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2D5F0218-B48B-4787-ACF8-94A8D647E2C8}"/>
              </a:ext>
            </a:extLst>
          </p:cNvPr>
          <p:cNvSpPr>
            <a:spLocks noGrp="1"/>
          </p:cNvSpPr>
          <p:nvPr>
            <p:ph type="sldNum" sz="quarter" idx="40"/>
          </p:nvPr>
        </p:nvSpPr>
        <p:spPr/>
        <p:txBody>
          <a:bodyPr/>
          <a:lstStyle/>
          <a:p>
            <a:fld id="{C24EC536-6FE3-4540-8D85-74C58F0BF69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Footer Placeholder 5">
            <a:extLst>
              <a:ext uri="{FF2B5EF4-FFF2-40B4-BE49-F238E27FC236}">
                <a16:creationId xmlns:a16="http://schemas.microsoft.com/office/drawing/2014/main" xmlns="" id="{9EDDBE66-12AC-4A55-BF4F-9BDB11683FD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16400" y="6433200"/>
            <a:ext cx="6123600" cy="255600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900"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9161697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(1.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3">
            <a:extLst>
              <a:ext uri="{FF2B5EF4-FFF2-40B4-BE49-F238E27FC236}">
                <a16:creationId xmlns:a16="http://schemas.microsoft.com/office/drawing/2014/main" xmlns="" id="{C0EE7B7B-F566-4855-B2E0-D348111D66F4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215681" y="882650"/>
            <a:ext cx="8976319" cy="5462588"/>
          </a:xfrm>
          <a:noFill/>
        </p:spPr>
        <p:txBody>
          <a:bodyPr tIns="756000" anchor="ctr"/>
          <a:lstStyle>
            <a:lvl1pPr algn="ctr">
              <a:defRPr>
                <a:solidFill>
                  <a:srgbClr val="737373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xmlns="" id="{49C6567E-C4DF-4FB0-9D5E-ACC3B7BDA5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4" y="187199"/>
            <a:ext cx="8856000" cy="435600"/>
          </a:xfrm>
        </p:spPr>
        <p:txBody>
          <a:bodyPr anchor="ctr">
            <a:no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49ECDE9D-EBE5-49D3-91E5-562E228B7E6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C24EC536-6FE3-4540-8D85-74C58F0BF69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ooter Placeholder 5">
            <a:extLst>
              <a:ext uri="{FF2B5EF4-FFF2-40B4-BE49-F238E27FC236}">
                <a16:creationId xmlns:a16="http://schemas.microsoft.com/office/drawing/2014/main" xmlns="" id="{7F8A0420-B904-40E2-A2FB-F91A10E551C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16400" y="6433200"/>
            <a:ext cx="6123600" cy="255600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900"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762685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D0CF477D-6C63-4F4F-9AE3-EEDFA6E93E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524" y="187199"/>
            <a:ext cx="8856000" cy="435600"/>
          </a:xfrm>
        </p:spPr>
        <p:txBody>
          <a:bodyPr anchor="ctr">
            <a:no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xmlns="" id="{60209B7B-C8FD-4B4E-8E75-636AE148E250}"/>
              </a:ext>
            </a:extLst>
          </p:cNvPr>
          <p:cNvSpPr>
            <a:spLocks noGrp="1"/>
          </p:cNvSpPr>
          <p:nvPr>
            <p:ph sz="quarter" idx="30"/>
          </p:nvPr>
        </p:nvSpPr>
        <p:spPr bwMode="gray">
          <a:xfrm>
            <a:off x="263524" y="2097089"/>
            <a:ext cx="11664951" cy="3564156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xmlns="" id="{9D907760-3A9C-4029-BC6E-C55487567DDB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 bwMode="gray">
          <a:xfrm>
            <a:off x="263524" y="882844"/>
            <a:ext cx="11664951" cy="856793"/>
          </a:xfrm>
        </p:spPr>
        <p:txBody>
          <a:bodyPr lIns="0" tIns="144000" rIns="0" bIns="0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/>
            </a:lvl1pPr>
            <a:lvl2pPr marL="0" indent="0">
              <a:lnSpc>
                <a:spcPct val="90000"/>
              </a:lnSpc>
              <a:spcBef>
                <a:spcPts val="1000"/>
              </a:spcBef>
              <a:buNone/>
              <a:defRPr sz="1800"/>
            </a:lvl2pPr>
            <a:lvl3pPr>
              <a:lnSpc>
                <a:spcPct val="90000"/>
              </a:lnSpc>
              <a:spcBef>
                <a:spcPts val="1000"/>
              </a:spcBef>
              <a:defRPr/>
            </a:lvl3pPr>
            <a:lvl4pPr>
              <a:lnSpc>
                <a:spcPct val="90000"/>
              </a:lnSpc>
              <a:spcBef>
                <a:spcPts val="1000"/>
              </a:spcBef>
              <a:defRPr/>
            </a:lvl4pPr>
            <a:lvl5pPr>
              <a:lnSpc>
                <a:spcPct val="90000"/>
              </a:lnSpc>
              <a:spcBef>
                <a:spcPts val="1000"/>
              </a:spcBef>
              <a:defRPr/>
            </a:lvl5pPr>
          </a:lstStyle>
          <a:p>
            <a:pPr lvl="0"/>
            <a:r>
              <a:rPr lang="en-US" dirty="0"/>
              <a:t>Click to edit Master Subtitle styles</a:t>
            </a:r>
          </a:p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xmlns="" id="{3CA8DD60-BCEB-4178-AAEE-8C17E6DDA853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 bwMode="gray">
          <a:xfrm>
            <a:off x="0" y="5805264"/>
            <a:ext cx="12192000" cy="539974"/>
          </a:xfrm>
          <a:solidFill>
            <a:srgbClr val="D9D9D9"/>
          </a:solidFill>
        </p:spPr>
        <p:txBody>
          <a:bodyPr tIns="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FFCC1BC8-7CF2-4BE1-92E5-3047820D007D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fld id="{C24EC536-6FE3-4540-8D85-74C58F0BF69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ooter Placeholder 5">
            <a:extLst>
              <a:ext uri="{FF2B5EF4-FFF2-40B4-BE49-F238E27FC236}">
                <a16:creationId xmlns:a16="http://schemas.microsoft.com/office/drawing/2014/main" xmlns="" id="{02B20BA0-3C91-45E4-B4B9-4057E653297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16400" y="6433200"/>
            <a:ext cx="6123600" cy="255600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900"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380808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xmlns="" id="{272A433E-C8B8-4444-AEED-64F001FDB74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34468" y="2869481"/>
            <a:ext cx="3923063" cy="11190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042624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ser gu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Box 3">
            <a:extLst>
              <a:ext uri="{FF2B5EF4-FFF2-40B4-BE49-F238E27FC236}">
                <a16:creationId xmlns:a16="http://schemas.microsoft.com/office/drawing/2014/main" xmlns="" id="{19798472-DC87-414E-BC4E-CFAF99EF0ED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467579" y="1325563"/>
            <a:ext cx="2786833" cy="42165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latin typeface="+mn-lt"/>
                <a:cs typeface="Arial" panose="020B0604020202020204" pitchFamily="34" charset="0"/>
              </a:rPr>
              <a:t>PICTURES</a:t>
            </a:r>
            <a:r>
              <a:rPr lang="en-US" sz="900" dirty="0">
                <a:latin typeface="+mn-lt"/>
                <a:cs typeface="Arial" panose="020B0604020202020204" pitchFamily="34" charset="0"/>
              </a:rPr>
              <a:t/>
            </a:r>
            <a:br>
              <a:rPr lang="en-US" sz="900" dirty="0">
                <a:latin typeface="+mn-lt"/>
                <a:cs typeface="Arial" panose="020B0604020202020204" pitchFamily="34" charset="0"/>
              </a:rPr>
            </a:br>
            <a:r>
              <a:rPr lang="en-US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corporate picture from Templafy</a:t>
            </a:r>
            <a:endParaRPr lang="en-US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Click the blue </a:t>
            </a:r>
            <a:r>
              <a:rPr lang="en-US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emplafy </a:t>
            </a:r>
            <a:r>
              <a:rPr lang="en-US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butt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US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 the dropdown, click </a:t>
            </a:r>
            <a:r>
              <a:rPr lang="en-US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mages</a:t>
            </a:r>
            <a:r>
              <a:rPr lang="en-US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, </a:t>
            </a:r>
            <a:br>
              <a:rPr lang="en-US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r click the </a:t>
            </a:r>
            <a:r>
              <a:rPr lang="en-US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mages </a:t>
            </a:r>
            <a:r>
              <a:rPr lang="en-US" altLang="da-DK" sz="900" b="0" i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button</a:t>
            </a:r>
            <a:r>
              <a:rPr lang="en-US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in the Templafy pane on the right side of the screen</a:t>
            </a:r>
            <a:endParaRPr lang="en-US" altLang="da-DK" sz="90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lang="en-US" altLang="da-DK" sz="900" b="0" baseline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 slides with pictureplaceholder, click on the icon and choose </a:t>
            </a: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US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rop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rop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change size or </a:t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cus of th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you want to scale the picture, </a:t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old </a:t>
            </a: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HIFT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-key down while </a:t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ragging the corners of the picture</a:t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endParaRPr lang="en-US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INT: 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you delete the picture and </a:t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a new one, the picture may </a:t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ie in front of the text or graphic.</a:t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this happens, select the picture, </a:t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ight-click and choose </a:t>
            </a: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end to Back</a:t>
            </a:r>
          </a:p>
          <a:p>
            <a:pPr eaLnBrk="1" hangingPunct="1">
              <a:spcAft>
                <a:spcPts val="600"/>
              </a:spcAft>
              <a:defRPr/>
            </a:pPr>
            <a:endParaRPr lang="en-US" altLang="da-DK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grpSp>
        <p:nvGrpSpPr>
          <p:cNvPr id="2" name="Gruppe 25">
            <a:extLst>
              <a:ext uri="{FF2B5EF4-FFF2-40B4-BE49-F238E27FC236}">
                <a16:creationId xmlns:a16="http://schemas.microsoft.com/office/drawing/2014/main" xmlns="" id="{F3C5118E-1DC4-485F-80E0-9220550843A3}"/>
              </a:ext>
            </a:extLst>
          </p:cNvPr>
          <p:cNvGrpSpPr/>
          <p:nvPr userDrawn="1"/>
        </p:nvGrpSpPr>
        <p:grpSpPr>
          <a:xfrm>
            <a:off x="7254412" y="1593644"/>
            <a:ext cx="676669" cy="997704"/>
            <a:chOff x="7254412" y="1876097"/>
            <a:chExt cx="676669" cy="997704"/>
          </a:xfrm>
        </p:grpSpPr>
        <p:pic>
          <p:nvPicPr>
            <p:cNvPr id="27" name="Billede 26">
              <a:extLst>
                <a:ext uri="{FF2B5EF4-FFF2-40B4-BE49-F238E27FC236}">
                  <a16:creationId xmlns:a16="http://schemas.microsoft.com/office/drawing/2014/main" xmlns="" id="{3A5D5234-21E3-4579-AE5E-A650C0CF9FB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7254412" y="1876097"/>
              <a:ext cx="305786" cy="365851"/>
            </a:xfrm>
            <a:prstGeom prst="rect">
              <a:avLst/>
            </a:prstGeom>
          </p:spPr>
        </p:pic>
        <p:pic>
          <p:nvPicPr>
            <p:cNvPr id="38" name="Billede 37">
              <a:extLst>
                <a:ext uri="{FF2B5EF4-FFF2-40B4-BE49-F238E27FC236}">
                  <a16:creationId xmlns:a16="http://schemas.microsoft.com/office/drawing/2014/main" xmlns="" id="{C18E748C-FC83-400F-9C35-D988C122801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l="1432" t="16308" r="2422" b="1509"/>
            <a:stretch/>
          </p:blipFill>
          <p:spPr>
            <a:xfrm>
              <a:off x="7256228" y="2245312"/>
              <a:ext cx="674853" cy="628489"/>
            </a:xfrm>
            <a:prstGeom prst="rect">
              <a:avLst/>
            </a:prstGeom>
            <a:ln w="3175">
              <a:solidFill>
                <a:schemeClr val="bg1">
                  <a:lumMod val="95000"/>
                </a:schemeClr>
              </a:solidFill>
            </a:ln>
          </p:spPr>
        </p:pic>
      </p:grpSp>
      <p:sp>
        <p:nvSpPr>
          <p:cNvPr id="42" name="Text Box 2">
            <a:extLst>
              <a:ext uri="{FF2B5EF4-FFF2-40B4-BE49-F238E27FC236}">
                <a16:creationId xmlns:a16="http://schemas.microsoft.com/office/drawing/2014/main" xmlns="" id="{00AD0EBC-0A41-4B26-9D79-79E0C00BBA8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39752" y="1331193"/>
            <a:ext cx="2280360" cy="48936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latin typeface="+mn-lt"/>
                <a:cs typeface="Arial" panose="020B0604020202020204" pitchFamily="34" charset="0"/>
              </a:rPr>
              <a:t>TEXT STYLES</a:t>
            </a:r>
            <a:endParaRPr lang="en-US" altLang="da-DK" sz="16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se the </a:t>
            </a: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-key</a:t>
            </a:r>
            <a:r>
              <a:rPr lang="en-US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jump through levels. Click </a:t>
            </a:r>
            <a:r>
              <a:rPr lang="en-US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ENTER</a:t>
            </a:r>
            <a:r>
              <a:rPr lang="en-US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, then </a:t>
            </a:r>
            <a:r>
              <a:rPr lang="en-US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r>
              <a:rPr lang="en-US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switch from one level to the next level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o go back in levels use </a:t>
            </a:r>
            <a:r>
              <a:rPr lang="en-US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HIFT-TAB</a:t>
            </a:r>
            <a:endParaRPr lang="en-US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US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lternatively, </a:t>
            </a:r>
            <a:r>
              <a:rPr lang="en-US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crease</a:t>
            </a:r>
            <a:r>
              <a:rPr lang="en-US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 </a:t>
            </a:r>
            <a:r>
              <a:rPr lang="en-US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ecrease</a:t>
            </a:r>
            <a:br>
              <a:rPr lang="en-US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ist level can be used</a:t>
            </a:r>
          </a:p>
          <a:p>
            <a:pPr eaLnBrk="1" hangingPunct="1">
              <a:spcAft>
                <a:spcPts val="600"/>
              </a:spcAft>
              <a:defRPr/>
            </a:pPr>
            <a:endParaRPr lang="en-US" sz="900" baseline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INT: </a:t>
            </a:r>
            <a:r>
              <a:rPr lang="en-US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se bullet butt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elete bullet for regular text.</a:t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the bullet button to reaply the correct bullet agai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/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sz="1600" dirty="0">
                <a:latin typeface="+mn-lt"/>
                <a:cs typeface="Arial" panose="020B0604020202020204" pitchFamily="34" charset="0"/>
              </a:rPr>
              <a:t>SLIDES &amp; LAYOUTS</a:t>
            </a: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/>
            </a:r>
            <a:b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/>
            </a:r>
            <a:b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the menu </a:t>
            </a: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New Slide 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 the </a:t>
            </a: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ome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ab to insert a new slide</a:t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/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hange layou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rgbClr val="000000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rPr>
              <a:t>Click on the arrow next to </a:t>
            </a:r>
            <a:r>
              <a:rPr lang="en-US" sz="900" b="1" dirty="0">
                <a:solidFill>
                  <a:srgbClr val="000000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rPr>
              <a:t>Layout</a:t>
            </a:r>
            <a:br>
              <a:rPr lang="en-US" sz="900" b="1" dirty="0">
                <a:solidFill>
                  <a:srgbClr val="000000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rPr>
            </a:br>
            <a:r>
              <a:rPr lang="en-US" sz="900" dirty="0">
                <a:solidFill>
                  <a:srgbClr val="000000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rPr>
              <a:t>to view a dropdown menu of possible slide layouts</a:t>
            </a:r>
            <a:r>
              <a:rPr lang="en-US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/>
            </a:r>
            <a:br>
              <a:rPr lang="en-US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/>
            </a:r>
            <a:br>
              <a:rPr lang="en-US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eset slide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en-US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US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eset </a:t>
            </a:r>
            <a:r>
              <a:rPr lang="en-US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menu to reset position, size</a:t>
            </a:r>
            <a:r>
              <a:rPr lang="en-US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 formatting of the </a:t>
            </a:r>
            <a:br>
              <a:rPr lang="en-US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lide placeholders to their default settings</a:t>
            </a:r>
            <a:endParaRPr lang="en-US" altLang="da-DK" sz="90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endParaRPr lang="en-US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43" name="Picture 2">
            <a:extLst>
              <a:ext uri="{FF2B5EF4-FFF2-40B4-BE49-F238E27FC236}">
                <a16:creationId xmlns:a16="http://schemas.microsoft.com/office/drawing/2014/main" xmlns="" id="{7082C8DC-C092-4676-B834-847B1F28585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859631" y="3040397"/>
            <a:ext cx="257143" cy="285714"/>
          </a:xfrm>
          <a:prstGeom prst="rect">
            <a:avLst/>
          </a:prstGeom>
        </p:spPr>
      </p:pic>
      <p:pic>
        <p:nvPicPr>
          <p:cNvPr id="46" name="Picture 29">
            <a:extLst>
              <a:ext uri="{FF2B5EF4-FFF2-40B4-BE49-F238E27FC236}">
                <a16:creationId xmlns:a16="http://schemas.microsoft.com/office/drawing/2014/main" xmlns="" id="{6B35B93D-CCEE-48AF-A769-8729CC05BE8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2860172" y="2317214"/>
            <a:ext cx="457143" cy="257143"/>
          </a:xfrm>
          <a:prstGeom prst="rect">
            <a:avLst/>
          </a:prstGeom>
        </p:spPr>
      </p:pic>
      <p:pic>
        <p:nvPicPr>
          <p:cNvPr id="51" name="Picture 33">
            <a:extLst>
              <a:ext uri="{FF2B5EF4-FFF2-40B4-BE49-F238E27FC236}">
                <a16:creationId xmlns:a16="http://schemas.microsoft.com/office/drawing/2014/main" xmlns="" id="{939F9DAB-8633-4819-950D-F5E391BF771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3901" t="45142" r="62601" b="9046"/>
          <a:stretch/>
        </p:blipFill>
        <p:spPr>
          <a:xfrm>
            <a:off x="7254412" y="2836373"/>
            <a:ext cx="341204" cy="321707"/>
          </a:xfrm>
          <a:prstGeom prst="rect">
            <a:avLst/>
          </a:prstGeom>
        </p:spPr>
      </p:pic>
      <p:pic>
        <p:nvPicPr>
          <p:cNvPr id="55" name="Picture 16">
            <a:extLst>
              <a:ext uri="{FF2B5EF4-FFF2-40B4-BE49-F238E27FC236}">
                <a16:creationId xmlns:a16="http://schemas.microsoft.com/office/drawing/2014/main" xmlns="" id="{A13B127D-1BE4-4C8F-96F6-59C8D10D8F4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866053" y="4030949"/>
            <a:ext cx="328881" cy="505501"/>
          </a:xfrm>
          <a:prstGeom prst="rect">
            <a:avLst/>
          </a:prstGeom>
        </p:spPr>
      </p:pic>
      <p:pic>
        <p:nvPicPr>
          <p:cNvPr id="56" name="Picture 20">
            <a:extLst>
              <a:ext uri="{FF2B5EF4-FFF2-40B4-BE49-F238E27FC236}">
                <a16:creationId xmlns:a16="http://schemas.microsoft.com/office/drawing/2014/main" xmlns="" id="{5730DD9A-26F6-4C14-AE7D-221D2B3F38DD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2866053" y="5359102"/>
            <a:ext cx="538465" cy="172841"/>
          </a:xfrm>
          <a:prstGeom prst="rect">
            <a:avLst/>
          </a:prstGeom>
        </p:spPr>
      </p:pic>
      <p:pic>
        <p:nvPicPr>
          <p:cNvPr id="57" name="Picture 19">
            <a:extLst>
              <a:ext uri="{FF2B5EF4-FFF2-40B4-BE49-F238E27FC236}">
                <a16:creationId xmlns:a16="http://schemas.microsoft.com/office/drawing/2014/main" xmlns="" id="{E210FBD4-B8B9-4AFA-9670-2FEBAA1CF374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7310433" y="3646113"/>
            <a:ext cx="313788" cy="543900"/>
          </a:xfrm>
          <a:prstGeom prst="rect">
            <a:avLst/>
          </a:prstGeom>
        </p:spPr>
      </p:pic>
      <p:sp>
        <p:nvSpPr>
          <p:cNvPr id="61" name="Text Box 4">
            <a:extLst>
              <a:ext uri="{FF2B5EF4-FFF2-40B4-BE49-F238E27FC236}">
                <a16:creationId xmlns:a16="http://schemas.microsoft.com/office/drawing/2014/main" xmlns="" id="{DD6A81B7-1FEE-46CF-A623-23E99CFEAFB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404676" y="1325563"/>
            <a:ext cx="2554662" cy="4431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latin typeface="+mn-lt"/>
                <a:cs typeface="Arial" panose="020B0604020202020204" pitchFamily="34" charset="0"/>
              </a:rPr>
              <a:t>GRIDLIN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latin typeface="+mn-lt"/>
                <a:cs typeface="Arial" panose="020B0604020202020204" pitchFamily="34" charset="0"/>
              </a:rPr>
              <a:t>Click the View tab and set tick mark next to Guid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latin typeface="+mn-lt"/>
                <a:cs typeface="Arial" panose="020B0604020202020204" pitchFamily="34" charset="0"/>
              </a:rPr>
              <a:t>HINT: Alt + F9 for quick view of guid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lang="en-US" sz="1600" dirty="0"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latin typeface="+mn-lt"/>
                <a:cs typeface="Arial" panose="020B0604020202020204" pitchFamily="34" charset="0"/>
              </a:rPr>
              <a:t>HEADER &amp; FOOTER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o this at the very end to apply the changes on all slide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</a:t>
            </a: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eader and Footer 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 the </a:t>
            </a: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ab (write the desired text)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pply to All 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r </a:t>
            </a: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pply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if only used on one slide</a:t>
            </a:r>
          </a:p>
          <a:p>
            <a:pPr eaLnBrk="1" hangingPunct="1">
              <a:spcAft>
                <a:spcPts val="600"/>
              </a:spcAft>
              <a:defRPr/>
            </a:pPr>
            <a:endParaRPr lang="en-US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latin typeface="+mn-lt"/>
                <a:cs typeface="Arial" panose="020B0604020202020204" pitchFamily="34" charset="0"/>
              </a:rPr>
              <a:t>SLIDES &amp; SLIDE ELEMEN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predefined slides and elements from the Templafy button. Choose </a:t>
            </a: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lides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 </a:t>
            </a: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lide elements 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rom the dropdown menu or from the buttons in the Templafy pane on the right side of the screen</a:t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endParaRPr lang="en-US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lang="en-US" altLang="da-DK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65" name="Fast overskrift">
            <a:extLst>
              <a:ext uri="{FF2B5EF4-FFF2-40B4-BE49-F238E27FC236}">
                <a16:creationId xmlns:a16="http://schemas.microsoft.com/office/drawing/2014/main" xmlns="" id="{09C05D50-8477-4113-8B72-9C373B0FF9F9}"/>
              </a:ext>
            </a:extLst>
          </p:cNvPr>
          <p:cNvSpPr txBox="1"/>
          <p:nvPr userDrawn="1"/>
        </p:nvSpPr>
        <p:spPr>
          <a:xfrm>
            <a:off x="539752" y="448713"/>
            <a:ext cx="11109321" cy="65017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r>
              <a:rPr lang="en-US" sz="3200" b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TIPS &amp; TRICKS - YOUR USER GUIDE</a:t>
            </a:r>
          </a:p>
        </p:txBody>
      </p:sp>
      <p:pic>
        <p:nvPicPr>
          <p:cNvPr id="66" name="Picture 2" descr="C:\Users\MAV~1.SKA\AppData\Local\Temp\SNAGHTMLe48c1e.PNG">
            <a:extLst>
              <a:ext uri="{FF2B5EF4-FFF2-40B4-BE49-F238E27FC236}">
                <a16:creationId xmlns:a16="http://schemas.microsoft.com/office/drawing/2014/main" xmlns="" id="{DAC63350-5850-40BB-87A2-CE01481E052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66198" y="2835357"/>
            <a:ext cx="650850" cy="973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xmlns="" id="{6D83AD9C-98AE-450E-B202-15860002D528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2866052" y="4794561"/>
            <a:ext cx="475428" cy="176762"/>
          </a:xfrm>
          <a:prstGeom prst="rect">
            <a:avLst/>
          </a:prstGeom>
        </p:spPr>
      </p:pic>
      <p:pic>
        <p:nvPicPr>
          <p:cNvPr id="19" name="Picture 12">
            <a:extLst>
              <a:ext uri="{FF2B5EF4-FFF2-40B4-BE49-F238E27FC236}">
                <a16:creationId xmlns:a16="http://schemas.microsoft.com/office/drawing/2014/main" xmlns="" id="{D59A1415-DF88-48C2-BFBD-2900D34A9A2E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11266198" y="1687812"/>
            <a:ext cx="378293" cy="543366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75475283-224A-4A5E-837B-37AEBD3B3B2F}"/>
              </a:ext>
            </a:extLst>
          </p:cNvPr>
          <p:cNvSpPr txBox="1"/>
          <p:nvPr userDrawn="1"/>
        </p:nvSpPr>
        <p:spPr>
          <a:xfrm>
            <a:off x="8329491" y="6476701"/>
            <a:ext cx="3837188" cy="2620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GB" sz="900" cap="all" baseline="0" dirty="0">
                <a:solidFill>
                  <a:srgbClr val="FF0000"/>
                </a:solidFill>
              </a:rPr>
              <a:t>This slide is to be deleted from the final presentation</a:t>
            </a:r>
          </a:p>
        </p:txBody>
      </p:sp>
    </p:spTree>
    <p:extLst>
      <p:ext uri="{BB962C8B-B14F-4D97-AF65-F5344CB8AC3E}">
        <p14:creationId xmlns:p14="http://schemas.microsoft.com/office/powerpoint/2010/main" val="326537167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ser guide - copy/pas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Fast overskrift">
            <a:extLst>
              <a:ext uri="{FF2B5EF4-FFF2-40B4-BE49-F238E27FC236}">
                <a16:creationId xmlns:a16="http://schemas.microsoft.com/office/drawing/2014/main" xmlns="" id="{09C05D50-8477-4113-8B72-9C373B0FF9F9}"/>
              </a:ext>
            </a:extLst>
          </p:cNvPr>
          <p:cNvSpPr txBox="1"/>
          <p:nvPr userDrawn="1"/>
        </p:nvSpPr>
        <p:spPr>
          <a:xfrm>
            <a:off x="539752" y="448713"/>
            <a:ext cx="11109321" cy="92765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altLang="da-DK" sz="2400" b="0" cap="all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opying and pasting slides from old dual brand template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xmlns="" id="{8F0B4C4F-D11C-4E6B-8FAE-F70412ED2D1A}"/>
              </a:ext>
            </a:extLst>
          </p:cNvPr>
          <p:cNvSpPr txBox="1"/>
          <p:nvPr userDrawn="1"/>
        </p:nvSpPr>
        <p:spPr>
          <a:xfrm>
            <a:off x="539753" y="2468826"/>
            <a:ext cx="4646080" cy="166199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US" sz="1200" b="1" dirty="0"/>
              <a:t>2.</a:t>
            </a:r>
            <a:r>
              <a:rPr lang="en-US" sz="1200" dirty="0"/>
              <a:t> </a:t>
            </a:r>
            <a:r>
              <a:rPr lang="en-US" sz="1200" b="1" dirty="0"/>
              <a:t>Copy slides:</a:t>
            </a:r>
            <a:r>
              <a:rPr lang="en-US" sz="1200" dirty="0"/>
              <a:t/>
            </a:r>
            <a:br>
              <a:rPr lang="en-US" sz="1200" dirty="0"/>
            </a:br>
            <a:r>
              <a:rPr lang="en-US" sz="1200" dirty="0"/>
              <a:t>Mark the slides you want to copy, right-click and choose Copy – or simply press </a:t>
            </a:r>
            <a:r>
              <a:rPr lang="en-US" sz="1200" b="1" dirty="0"/>
              <a:t>Ctrl+C</a:t>
            </a:r>
            <a:r>
              <a:rPr lang="en-US" sz="1200" dirty="0"/>
              <a:t>.</a:t>
            </a:r>
          </a:p>
          <a:p>
            <a:r>
              <a:rPr lang="en-US" sz="1200" dirty="0"/>
              <a:t>Place the curser where you want to paste your slides in the new presentation, right-click and choose </a:t>
            </a:r>
            <a:r>
              <a:rPr lang="en-US" sz="1200" b="1" dirty="0"/>
              <a:t>Use destination theme (H)</a:t>
            </a:r>
            <a:r>
              <a:rPr lang="en-US" sz="1200" dirty="0"/>
              <a:t>.</a:t>
            </a:r>
          </a:p>
          <a:p>
            <a:endParaRPr lang="en-US" sz="1200" dirty="0"/>
          </a:p>
          <a:p>
            <a:r>
              <a:rPr lang="en-US" sz="1200" dirty="0"/>
              <a:t>Using Keep Source Formatting (K) will leave the copied slides as they were. This can be used if the presentation is non-Hitachi Energy branded.</a:t>
            </a:r>
          </a:p>
        </p:txBody>
      </p:sp>
      <p:grpSp>
        <p:nvGrpSpPr>
          <p:cNvPr id="77" name="Group 76">
            <a:extLst>
              <a:ext uri="{FF2B5EF4-FFF2-40B4-BE49-F238E27FC236}">
                <a16:creationId xmlns:a16="http://schemas.microsoft.com/office/drawing/2014/main" xmlns="" id="{0F3BEB6B-901B-41BC-83C6-ABA4DE2ED244}"/>
              </a:ext>
            </a:extLst>
          </p:cNvPr>
          <p:cNvGrpSpPr/>
          <p:nvPr userDrawn="1"/>
        </p:nvGrpSpPr>
        <p:grpSpPr>
          <a:xfrm>
            <a:off x="5519301" y="2377562"/>
            <a:ext cx="920748" cy="906583"/>
            <a:chOff x="633081" y="2913045"/>
            <a:chExt cx="1238250" cy="1219200"/>
          </a:xfrm>
        </p:grpSpPr>
        <p:pic>
          <p:nvPicPr>
            <p:cNvPr id="78" name="Picture 77">
              <a:extLst>
                <a:ext uri="{FF2B5EF4-FFF2-40B4-BE49-F238E27FC236}">
                  <a16:creationId xmlns:a16="http://schemas.microsoft.com/office/drawing/2014/main" xmlns="" id="{6EF58DE3-B4D2-4969-8A9A-23638E15BE8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633081" y="2913045"/>
              <a:ext cx="1238250" cy="1219200"/>
            </a:xfrm>
            <a:prstGeom prst="rect">
              <a:avLst/>
            </a:prstGeom>
            <a:noFill/>
            <a:ln w="12700">
              <a:solidFill>
                <a:schemeClr val="accent6"/>
              </a:solidFill>
            </a:ln>
          </p:spPr>
        </p:pic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xmlns="" id="{D52F5083-D4A6-41A5-B3C4-185E1D0CB792}"/>
                </a:ext>
              </a:extLst>
            </p:cNvPr>
            <p:cNvSpPr/>
            <p:nvPr/>
          </p:nvSpPr>
          <p:spPr>
            <a:xfrm>
              <a:off x="970757" y="3231356"/>
              <a:ext cx="304800" cy="304800"/>
            </a:xfrm>
            <a:prstGeom prst="rect">
              <a:avLst/>
            </a:prstGeom>
            <a:noFill/>
            <a:ln w="1270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xmlns="" id="{BEB66E97-974B-4BDE-BDEB-5A270325CDC3}"/>
              </a:ext>
            </a:extLst>
          </p:cNvPr>
          <p:cNvGrpSpPr/>
          <p:nvPr userDrawn="1"/>
        </p:nvGrpSpPr>
        <p:grpSpPr>
          <a:xfrm>
            <a:off x="5519301" y="3429932"/>
            <a:ext cx="830227" cy="931145"/>
            <a:chOff x="2144307" y="3106091"/>
            <a:chExt cx="1365906" cy="1531938"/>
          </a:xfrm>
        </p:grpSpPr>
        <p:pic>
          <p:nvPicPr>
            <p:cNvPr id="80" name="Picture 79">
              <a:extLst>
                <a:ext uri="{FF2B5EF4-FFF2-40B4-BE49-F238E27FC236}">
                  <a16:creationId xmlns:a16="http://schemas.microsoft.com/office/drawing/2014/main" xmlns="" id="{6A18EC7C-FE1B-47A0-A290-B7A6F6B9DE1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r="1619"/>
            <a:stretch/>
          </p:blipFill>
          <p:spPr>
            <a:xfrm>
              <a:off x="2144592" y="3106091"/>
              <a:ext cx="1365621" cy="1531938"/>
            </a:xfrm>
            <a:prstGeom prst="rect">
              <a:avLst/>
            </a:prstGeom>
          </p:spPr>
        </p:pic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xmlns="" id="{EAEA406E-7EC0-4F67-9FBF-9EF491DEB94F}"/>
                </a:ext>
              </a:extLst>
            </p:cNvPr>
            <p:cNvSpPr/>
            <p:nvPr userDrawn="1"/>
          </p:nvSpPr>
          <p:spPr>
            <a:xfrm>
              <a:off x="2144307" y="3106091"/>
              <a:ext cx="1363526" cy="1531938"/>
            </a:xfrm>
            <a:custGeom>
              <a:avLst/>
              <a:gdLst>
                <a:gd name="connsiteX0" fmla="*/ 710214 w 1504203"/>
                <a:gd name="connsiteY0" fmla="*/ 682764 h 1630297"/>
                <a:gd name="connsiteX1" fmla="*/ 710214 w 1504203"/>
                <a:gd name="connsiteY1" fmla="*/ 1442137 h 1630297"/>
                <a:gd name="connsiteX2" fmla="*/ 1477504 w 1504203"/>
                <a:gd name="connsiteY2" fmla="*/ 1442137 h 1630297"/>
                <a:gd name="connsiteX3" fmla="*/ 1477504 w 1504203"/>
                <a:gd name="connsiteY3" fmla="*/ 682764 h 1630297"/>
                <a:gd name="connsiteX4" fmla="*/ 0 w 1504203"/>
                <a:gd name="connsiteY4" fmla="*/ 0 h 1630297"/>
                <a:gd name="connsiteX5" fmla="*/ 1504203 w 1504203"/>
                <a:gd name="connsiteY5" fmla="*/ 0 h 1630297"/>
                <a:gd name="connsiteX6" fmla="*/ 1504203 w 1504203"/>
                <a:gd name="connsiteY6" fmla="*/ 1630297 h 1630297"/>
                <a:gd name="connsiteX7" fmla="*/ 0 w 1504203"/>
                <a:gd name="connsiteY7" fmla="*/ 1630297 h 1630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04203" h="1630297">
                  <a:moveTo>
                    <a:pt x="710214" y="682764"/>
                  </a:moveTo>
                  <a:lnTo>
                    <a:pt x="710214" y="1442137"/>
                  </a:lnTo>
                  <a:lnTo>
                    <a:pt x="1477504" y="1442137"/>
                  </a:lnTo>
                  <a:lnTo>
                    <a:pt x="1477504" y="682764"/>
                  </a:lnTo>
                  <a:close/>
                  <a:moveTo>
                    <a:pt x="0" y="0"/>
                  </a:moveTo>
                  <a:lnTo>
                    <a:pt x="1504203" y="0"/>
                  </a:lnTo>
                  <a:lnTo>
                    <a:pt x="1504203" y="1630297"/>
                  </a:lnTo>
                  <a:lnTo>
                    <a:pt x="0" y="1630297"/>
                  </a:lnTo>
                  <a:close/>
                </a:path>
              </a:pathLst>
            </a:custGeom>
            <a:solidFill>
              <a:schemeClr val="bg1">
                <a:alpha val="7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36000" rIns="72000" bIns="36000" rtlCol="0" anchor="ctr">
              <a:noAutofit/>
            </a:bodyPr>
            <a:lstStyle/>
            <a:p>
              <a:pPr algn="ctr"/>
              <a:endParaRPr lang="en-GB" sz="2000" noProof="0" dirty="0" err="1"/>
            </a:p>
          </p:txBody>
        </p:sp>
        <p:sp>
          <p:nvSpPr>
            <p:cNvPr id="82" name="Rectangle 81">
              <a:extLst>
                <a:ext uri="{FF2B5EF4-FFF2-40B4-BE49-F238E27FC236}">
                  <a16:creationId xmlns:a16="http://schemas.microsoft.com/office/drawing/2014/main" xmlns="" id="{0687A4A2-D9A8-4577-BC56-0B5D79488DD6}"/>
                </a:ext>
              </a:extLst>
            </p:cNvPr>
            <p:cNvSpPr/>
            <p:nvPr userDrawn="1"/>
          </p:nvSpPr>
          <p:spPr>
            <a:xfrm>
              <a:off x="2796633" y="3736310"/>
              <a:ext cx="711200" cy="713559"/>
            </a:xfrm>
            <a:prstGeom prst="rect">
              <a:avLst/>
            </a:prstGeom>
            <a:noFill/>
            <a:ln w="1270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noProof="0" dirty="0" err="1"/>
            </a:p>
          </p:txBody>
        </p:sp>
      </p:grpSp>
      <p:sp>
        <p:nvSpPr>
          <p:cNvPr id="83" name="TextBox 82">
            <a:extLst>
              <a:ext uri="{FF2B5EF4-FFF2-40B4-BE49-F238E27FC236}">
                <a16:creationId xmlns:a16="http://schemas.microsoft.com/office/drawing/2014/main" xmlns="" id="{C1B78DA5-A67A-4800-8FFB-E07C52F610CE}"/>
              </a:ext>
            </a:extLst>
          </p:cNvPr>
          <p:cNvSpPr txBox="1"/>
          <p:nvPr userDrawn="1"/>
        </p:nvSpPr>
        <p:spPr>
          <a:xfrm>
            <a:off x="8162875" y="1694514"/>
            <a:ext cx="3765600" cy="110799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US" sz="1200" dirty="0"/>
              <a:t>Make </a:t>
            </a:r>
            <a:r>
              <a:rPr lang="en-US" sz="1200" dirty="0">
                <a:solidFill>
                  <a:schemeClr val="tx1"/>
                </a:solidFill>
              </a:rPr>
              <a:t>sure</a:t>
            </a:r>
            <a:r>
              <a:rPr lang="en-US" sz="1200" dirty="0">
                <a:solidFill>
                  <a:schemeClr val="tx2"/>
                </a:solidFill>
              </a:rPr>
              <a:t> page number and footer </a:t>
            </a:r>
            <a:r>
              <a:rPr lang="en-US" sz="1200" dirty="0"/>
              <a:t>are correct. </a:t>
            </a:r>
          </a:p>
          <a:p>
            <a:r>
              <a:rPr lang="en-US" sz="1200" dirty="0"/>
              <a:t>Click on the Reset button.</a:t>
            </a:r>
          </a:p>
          <a:p>
            <a:endParaRPr lang="en-US" sz="1200" dirty="0"/>
          </a:p>
          <a:p>
            <a:r>
              <a:rPr lang="en-US" sz="1200" dirty="0"/>
              <a:t>Then, navigate to Insert &gt; </a:t>
            </a:r>
            <a:r>
              <a:rPr lang="en-US" sz="1200" b="1" dirty="0"/>
              <a:t>Header &amp; Footer</a:t>
            </a:r>
            <a:r>
              <a:rPr lang="en-US" sz="1200" dirty="0"/>
              <a:t>. Remove the check marks and click </a:t>
            </a:r>
            <a:r>
              <a:rPr lang="en-US" sz="1200" b="1" dirty="0"/>
              <a:t>Apply to All</a:t>
            </a:r>
            <a:r>
              <a:rPr lang="en-US" sz="1200" dirty="0"/>
              <a:t>. Go to the menu again, add the check marks and click Apply to All. </a:t>
            </a:r>
          </a:p>
        </p:txBody>
      </p:sp>
      <p:pic>
        <p:nvPicPr>
          <p:cNvPr id="84" name="Picture 83">
            <a:extLst>
              <a:ext uri="{FF2B5EF4-FFF2-40B4-BE49-F238E27FC236}">
                <a16:creationId xmlns:a16="http://schemas.microsoft.com/office/drawing/2014/main" xmlns="" id="{1E0FD5AC-92C6-4284-BA69-A6489C657F8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172862" y="3352364"/>
            <a:ext cx="652420" cy="215676"/>
          </a:xfrm>
          <a:prstGeom prst="rect">
            <a:avLst/>
          </a:prstGeom>
        </p:spPr>
      </p:pic>
      <p:pic>
        <p:nvPicPr>
          <p:cNvPr id="85" name="Picture 84">
            <a:extLst>
              <a:ext uri="{FF2B5EF4-FFF2-40B4-BE49-F238E27FC236}">
                <a16:creationId xmlns:a16="http://schemas.microsoft.com/office/drawing/2014/main" xmlns="" id="{4FA90C71-53BF-449C-B756-B79A42A1137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081660" y="3352364"/>
            <a:ext cx="1928030" cy="1322769"/>
          </a:xfrm>
          <a:prstGeom prst="rect">
            <a:avLst/>
          </a:prstGeom>
        </p:spPr>
      </p:pic>
      <p:sp>
        <p:nvSpPr>
          <p:cNvPr id="86" name="TextBox 85">
            <a:extLst>
              <a:ext uri="{FF2B5EF4-FFF2-40B4-BE49-F238E27FC236}">
                <a16:creationId xmlns:a16="http://schemas.microsoft.com/office/drawing/2014/main" xmlns="" id="{11724201-102B-44AB-A41C-A79D8C3F557B}"/>
              </a:ext>
            </a:extLst>
          </p:cNvPr>
          <p:cNvSpPr txBox="1"/>
          <p:nvPr userDrawn="1"/>
        </p:nvSpPr>
        <p:spPr>
          <a:xfrm>
            <a:off x="539753" y="4438398"/>
            <a:ext cx="4756176" cy="166199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US" sz="1200" dirty="0"/>
              <a:t>Next step is to find the </a:t>
            </a:r>
            <a:r>
              <a:rPr lang="en-US" sz="1200" b="1" dirty="0"/>
              <a:t>right layout </a:t>
            </a:r>
            <a:r>
              <a:rPr lang="en-US" sz="1200" dirty="0"/>
              <a:t>in the new presentation. </a:t>
            </a:r>
          </a:p>
          <a:p>
            <a:r>
              <a:rPr lang="en-US" sz="1200" dirty="0"/>
              <a:t>Please right click on the slide and click layout.</a:t>
            </a:r>
          </a:p>
          <a:p>
            <a:endParaRPr lang="en-US" sz="1200" dirty="0"/>
          </a:p>
          <a:p>
            <a:r>
              <a:rPr lang="en-US" sz="1200" dirty="0"/>
              <a:t>If the layout comes after the last Hitachi Energy layout (Do not use layouts after this), choose a layout that is most like the slide you have copied.</a:t>
            </a:r>
          </a:p>
          <a:p>
            <a:endParaRPr lang="en-US" sz="1200" dirty="0"/>
          </a:p>
          <a:p>
            <a:r>
              <a:rPr lang="en-US" sz="1200" i="1" dirty="0"/>
              <a:t>Note: you might have to adjust text to fit the new layout if there is e.g. different amount of placeholders.</a:t>
            </a:r>
            <a:endParaRPr lang="en-US" sz="1200" dirty="0"/>
          </a:p>
        </p:txBody>
      </p:sp>
      <p:grpSp>
        <p:nvGrpSpPr>
          <p:cNvPr id="87" name="Group 86">
            <a:extLst>
              <a:ext uri="{FF2B5EF4-FFF2-40B4-BE49-F238E27FC236}">
                <a16:creationId xmlns:a16="http://schemas.microsoft.com/office/drawing/2014/main" xmlns="" id="{3116C0E4-C1A2-4C02-B8EA-AD665C07A4E4}"/>
              </a:ext>
            </a:extLst>
          </p:cNvPr>
          <p:cNvGrpSpPr/>
          <p:nvPr userDrawn="1"/>
        </p:nvGrpSpPr>
        <p:grpSpPr>
          <a:xfrm>
            <a:off x="5521741" y="4480438"/>
            <a:ext cx="2425309" cy="1864800"/>
            <a:chOff x="4256385" y="1376363"/>
            <a:chExt cx="5336620" cy="4103283"/>
          </a:xfrm>
        </p:grpSpPr>
        <p:pic>
          <p:nvPicPr>
            <p:cNvPr id="88" name="Picture 87">
              <a:extLst>
                <a:ext uri="{FF2B5EF4-FFF2-40B4-BE49-F238E27FC236}">
                  <a16:creationId xmlns:a16="http://schemas.microsoft.com/office/drawing/2014/main" xmlns="" id="{656E3C72-2513-42BC-A870-2D3F2FD67FD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256386" y="1376364"/>
              <a:ext cx="5336619" cy="4103282"/>
            </a:xfrm>
            <a:prstGeom prst="rect">
              <a:avLst/>
            </a:prstGeom>
          </p:spPr>
        </p:pic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xmlns="" id="{D9A853A5-8294-40DD-B660-B436764CC5D2}"/>
                </a:ext>
              </a:extLst>
            </p:cNvPr>
            <p:cNvSpPr/>
            <p:nvPr/>
          </p:nvSpPr>
          <p:spPr>
            <a:xfrm>
              <a:off x="4256385" y="1376363"/>
              <a:ext cx="908043" cy="454650"/>
            </a:xfrm>
            <a:prstGeom prst="rect">
              <a:avLst/>
            </a:prstGeom>
            <a:solidFill>
              <a:srgbClr val="FFFFFF">
                <a:alpha val="85000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xmlns="" id="{A646FD26-E63E-42D5-A742-D8598E2754EF}"/>
                </a:ext>
              </a:extLst>
            </p:cNvPr>
            <p:cNvSpPr/>
            <p:nvPr/>
          </p:nvSpPr>
          <p:spPr>
            <a:xfrm>
              <a:off x="4256385" y="4375150"/>
              <a:ext cx="908043" cy="1104495"/>
            </a:xfrm>
            <a:prstGeom prst="rect">
              <a:avLst/>
            </a:prstGeom>
            <a:solidFill>
              <a:srgbClr val="FFFFFF">
                <a:alpha val="85000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</p:grpSp>
      <p:sp>
        <p:nvSpPr>
          <p:cNvPr id="91" name="TextBox 90">
            <a:extLst>
              <a:ext uri="{FF2B5EF4-FFF2-40B4-BE49-F238E27FC236}">
                <a16:creationId xmlns:a16="http://schemas.microsoft.com/office/drawing/2014/main" xmlns="" id="{E41EF83D-861F-43BD-ACDD-70665CF33947}"/>
              </a:ext>
            </a:extLst>
          </p:cNvPr>
          <p:cNvSpPr txBox="1"/>
          <p:nvPr userDrawn="1"/>
        </p:nvSpPr>
        <p:spPr>
          <a:xfrm>
            <a:off x="8172862" y="4992395"/>
            <a:ext cx="3755611" cy="110799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US" sz="1200" dirty="0"/>
              <a:t>Last step is to </a:t>
            </a:r>
            <a:r>
              <a:rPr lang="en-US" sz="1200" b="1" dirty="0"/>
              <a:t>open a clean presentation</a:t>
            </a:r>
            <a:r>
              <a:rPr lang="en-US" sz="1200" dirty="0"/>
              <a:t> – either find it in Templafy or press Ctrl+N.</a:t>
            </a:r>
          </a:p>
          <a:p>
            <a:endParaRPr lang="en-US" sz="1200" dirty="0"/>
          </a:p>
          <a:p>
            <a:r>
              <a:rPr lang="en-US" sz="1200" dirty="0"/>
              <a:t>Please copy all the slides in your presentation and paste them into the empty one. This will ensure that there are no extra layouts.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xmlns="" id="{3551F8B8-A489-42DC-B2F3-3EFFE26184A4}"/>
              </a:ext>
            </a:extLst>
          </p:cNvPr>
          <p:cNvSpPr txBox="1"/>
          <p:nvPr userDrawn="1"/>
        </p:nvSpPr>
        <p:spPr>
          <a:xfrm>
            <a:off x="539752" y="1345639"/>
            <a:ext cx="4646080" cy="81560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eaLnBrk="1" hangingPunct="1">
              <a:spcAft>
                <a:spcPts val="600"/>
              </a:spcAft>
              <a:defRPr/>
            </a:pPr>
            <a:r>
              <a:rPr lang="en-GB" altLang="da-DK" sz="12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When copying old content to your new presentation, 2 options are available: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12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Best practice: </a:t>
            </a:r>
            <a:r>
              <a:rPr lang="en-GB" altLang="da-DK" sz="12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reate a slide in your new presentation and copy </a:t>
            </a:r>
            <a:r>
              <a:rPr lang="en-GB" altLang="da-DK" sz="1200" b="0" i="0" u="sng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e</a:t>
            </a:r>
            <a:r>
              <a:rPr lang="en-GB" altLang="da-DK" sz="1200" b="0" i="0" u="none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piece of content at a time (e.g. copy all text from </a:t>
            </a:r>
            <a:r>
              <a:rPr lang="en-GB" altLang="da-DK" sz="1200" b="0" i="0" u="sng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e</a:t>
            </a:r>
            <a:r>
              <a:rPr lang="en-GB" altLang="da-DK" sz="1200" b="0" i="0" u="none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extbox)</a:t>
            </a:r>
            <a:endParaRPr lang="en-GB" altLang="da-DK" sz="1200" b="1" i="0" u="sng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xmlns="" id="{829D0D2F-C258-4E37-97F1-2B81DF5286A7}"/>
              </a:ext>
            </a:extLst>
          </p:cNvPr>
          <p:cNvSpPr txBox="1"/>
          <p:nvPr userDrawn="1"/>
        </p:nvSpPr>
        <p:spPr>
          <a:xfrm>
            <a:off x="8329491" y="6476701"/>
            <a:ext cx="3837188" cy="2620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GB" sz="900" cap="all" baseline="0" dirty="0">
                <a:solidFill>
                  <a:srgbClr val="FF0000"/>
                </a:solidFill>
              </a:rPr>
              <a:t>This slide is to be deleted from the final presentation</a:t>
            </a:r>
          </a:p>
        </p:txBody>
      </p:sp>
    </p:spTree>
    <p:extLst>
      <p:ext uri="{BB962C8B-B14F-4D97-AF65-F5344CB8AC3E}">
        <p14:creationId xmlns:p14="http://schemas.microsoft.com/office/powerpoint/2010/main" val="269607109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5BD04DA-BB47-4750-8A44-88B15E82698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98907" y="1990949"/>
            <a:ext cx="8815185" cy="494203"/>
          </a:xfrm>
        </p:spPr>
        <p:txBody>
          <a:bodyPr anchor="t"/>
          <a:lstStyle>
            <a:lvl1pPr algn="l">
              <a:defRPr sz="32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able of Contents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xmlns="" id="{01529F75-5663-4C03-96B5-0F1F0D69FA9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4EC536-6FE3-4540-8D85-74C58F0BF697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xmlns="" id="{E89B7F61-230E-4B3E-BF70-2CD676232A3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403200" y="522000"/>
            <a:ext cx="2359426" cy="674919"/>
          </a:xfrm>
          <a:prstGeom prst="rect">
            <a:avLst/>
          </a:prstGeom>
        </p:spPr>
      </p:pic>
      <p:pic>
        <p:nvPicPr>
          <p:cNvPr id="21" name="Graphic 20">
            <a:extLst>
              <a:ext uri="{FF2B5EF4-FFF2-40B4-BE49-F238E27FC236}">
                <a16:creationId xmlns:a16="http://schemas.microsoft.com/office/drawing/2014/main" xmlns="" id="{1998C1C1-FCA3-4919-A5E7-F00A9F4C801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9100800" y="6372000"/>
            <a:ext cx="2661221" cy="363600"/>
          </a:xfrm>
          <a:prstGeom prst="rect">
            <a:avLst/>
          </a:prstGeom>
        </p:spPr>
      </p:pic>
      <p:grpSp>
        <p:nvGrpSpPr>
          <p:cNvPr id="25" name="グループ化 39">
            <a:extLst>
              <a:ext uri="{FF2B5EF4-FFF2-40B4-BE49-F238E27FC236}">
                <a16:creationId xmlns:a16="http://schemas.microsoft.com/office/drawing/2014/main" xmlns="" id="{FA3F7484-7BAE-4EA2-B7C9-7CB4B37585D7}"/>
              </a:ext>
            </a:extLst>
          </p:cNvPr>
          <p:cNvGrpSpPr/>
          <p:nvPr userDrawn="1"/>
        </p:nvGrpSpPr>
        <p:grpSpPr bwMode="gray">
          <a:xfrm>
            <a:off x="0" y="2708310"/>
            <a:ext cx="12193203" cy="131544"/>
            <a:chOff x="324487" y="2057426"/>
            <a:chExt cx="8104303" cy="97488"/>
          </a:xfrm>
        </p:grpSpPr>
        <p:sp>
          <p:nvSpPr>
            <p:cNvPr id="27" name="正方形/長方形 11">
              <a:extLst>
                <a:ext uri="{FF2B5EF4-FFF2-40B4-BE49-F238E27FC236}">
                  <a16:creationId xmlns:a16="http://schemas.microsoft.com/office/drawing/2014/main" xmlns="" id="{AC587E33-7A2C-4448-B825-67039A0700BA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324489" y="2057426"/>
              <a:ext cx="8104301" cy="97488"/>
            </a:xfrm>
            <a:prstGeom prst="rect">
              <a:avLst/>
            </a:prstGeom>
            <a:solidFill>
              <a:srgbClr val="7373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>
                <a:defRPr/>
              </a:pPr>
              <a:endParaRPr lang="en-US" altLang="ja-JP" sz="4623" dirty="0"/>
            </a:p>
          </p:txBody>
        </p:sp>
        <p:grpSp>
          <p:nvGrpSpPr>
            <p:cNvPr id="29" name="グループ化 16">
              <a:extLst>
                <a:ext uri="{FF2B5EF4-FFF2-40B4-BE49-F238E27FC236}">
                  <a16:creationId xmlns:a16="http://schemas.microsoft.com/office/drawing/2014/main" xmlns="" id="{1F030078-EE00-43F9-9D4B-C4A2F6C2791D}"/>
                </a:ext>
              </a:extLst>
            </p:cNvPr>
            <p:cNvGrpSpPr/>
            <p:nvPr/>
          </p:nvGrpSpPr>
          <p:grpSpPr bwMode="gray">
            <a:xfrm>
              <a:off x="324487" y="2057426"/>
              <a:ext cx="1945319" cy="97488"/>
              <a:chOff x="312738" y="2747963"/>
              <a:chExt cx="1976699" cy="109537"/>
            </a:xfrm>
          </p:grpSpPr>
          <p:sp>
            <p:nvSpPr>
              <p:cNvPr id="31" name="正方形/長方形 42">
                <a:extLst>
                  <a:ext uri="{FF2B5EF4-FFF2-40B4-BE49-F238E27FC236}">
                    <a16:creationId xmlns:a16="http://schemas.microsoft.com/office/drawing/2014/main" xmlns="" id="{893CB3F4-07DF-48C9-91C2-5DCF6D46D60C}"/>
                  </a:ext>
                </a:extLst>
              </p:cNvPr>
              <p:cNvSpPr/>
              <p:nvPr/>
            </p:nvSpPr>
            <p:spPr bwMode="gray">
              <a:xfrm>
                <a:off x="312738" y="2747963"/>
                <a:ext cx="1976699" cy="109537"/>
              </a:xfrm>
              <a:prstGeom prst="rect">
                <a:avLst/>
              </a:prstGeom>
              <a:solidFill>
                <a:srgbClr val="FF0026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en-US" altLang="ja-JP" sz="2400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33" name="正方形/長方形 43">
                <a:extLst>
                  <a:ext uri="{FF2B5EF4-FFF2-40B4-BE49-F238E27FC236}">
                    <a16:creationId xmlns:a16="http://schemas.microsoft.com/office/drawing/2014/main" xmlns="" id="{CA708C55-4831-4CEB-B7EB-9AC3F6C25ADB}"/>
                  </a:ext>
                </a:extLst>
              </p:cNvPr>
              <p:cNvSpPr/>
              <p:nvPr/>
            </p:nvSpPr>
            <p:spPr bwMode="gray">
              <a:xfrm>
                <a:off x="312738" y="2747963"/>
                <a:ext cx="1077094" cy="109537"/>
              </a:xfrm>
              <a:prstGeom prst="rect">
                <a:avLst/>
              </a:prstGeom>
              <a:solidFill>
                <a:srgbClr val="B3B3B3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en-US" altLang="ja-JP" sz="2400" kern="0" dirty="0">
                  <a:solidFill>
                    <a:sysClr val="windowText" lastClr="000000"/>
                  </a:solidFill>
                </a:endParaRPr>
              </a:p>
            </p:txBody>
          </p:sp>
        </p:grpSp>
      </p:grpSp>
      <p:sp>
        <p:nvSpPr>
          <p:cNvPr id="36" name="Text Placeholder 24">
            <a:extLst>
              <a:ext uri="{FF2B5EF4-FFF2-40B4-BE49-F238E27FC236}">
                <a16:creationId xmlns:a16="http://schemas.microsoft.com/office/drawing/2014/main" xmlns="" id="{7623BCA7-93D5-48F7-86F7-C24F0D39C97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20301" y="3428932"/>
            <a:ext cx="393792" cy="249236"/>
          </a:xfrm>
        </p:spPr>
        <p:txBody>
          <a:bodyPr tIns="0"/>
          <a:lstStyle>
            <a:lvl1pPr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02</a:t>
            </a:r>
            <a:endParaRPr lang="en-GB" dirty="0"/>
          </a:p>
        </p:txBody>
      </p:sp>
      <p:sp>
        <p:nvSpPr>
          <p:cNvPr id="37" name="Text Placeholder 24">
            <a:extLst>
              <a:ext uri="{FF2B5EF4-FFF2-40B4-BE49-F238E27FC236}">
                <a16:creationId xmlns:a16="http://schemas.microsoft.com/office/drawing/2014/main" xmlns="" id="{B786EBCC-6E6B-44EC-A776-7C73802819B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020301" y="3829675"/>
            <a:ext cx="393792" cy="249236"/>
          </a:xfrm>
        </p:spPr>
        <p:txBody>
          <a:bodyPr tIns="0"/>
          <a:lstStyle>
            <a:lvl1pPr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03</a:t>
            </a:r>
            <a:endParaRPr lang="en-GB" dirty="0"/>
          </a:p>
        </p:txBody>
      </p:sp>
      <p:sp>
        <p:nvSpPr>
          <p:cNvPr id="38" name="Text Placeholder 24">
            <a:extLst>
              <a:ext uri="{FF2B5EF4-FFF2-40B4-BE49-F238E27FC236}">
                <a16:creationId xmlns:a16="http://schemas.microsoft.com/office/drawing/2014/main" xmlns="" id="{CA5C2C1F-DA5D-4DE6-ACFA-7A059600419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020301" y="4230418"/>
            <a:ext cx="393792" cy="249236"/>
          </a:xfrm>
        </p:spPr>
        <p:txBody>
          <a:bodyPr tIns="0"/>
          <a:lstStyle>
            <a:lvl1pPr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04</a:t>
            </a:r>
            <a:endParaRPr lang="en-GB" dirty="0"/>
          </a:p>
        </p:txBody>
      </p:sp>
      <p:sp>
        <p:nvSpPr>
          <p:cNvPr id="39" name="Text Placeholder 24">
            <a:extLst>
              <a:ext uri="{FF2B5EF4-FFF2-40B4-BE49-F238E27FC236}">
                <a16:creationId xmlns:a16="http://schemas.microsoft.com/office/drawing/2014/main" xmlns="" id="{C973E25B-071F-4386-B562-B5B6B906492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020301" y="4631161"/>
            <a:ext cx="393792" cy="249236"/>
          </a:xfrm>
        </p:spPr>
        <p:txBody>
          <a:bodyPr tIns="0"/>
          <a:lstStyle>
            <a:lvl1pPr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05</a:t>
            </a:r>
            <a:endParaRPr lang="en-GB" dirty="0"/>
          </a:p>
        </p:txBody>
      </p:sp>
      <p:sp>
        <p:nvSpPr>
          <p:cNvPr id="40" name="Text Placeholder 24">
            <a:extLst>
              <a:ext uri="{FF2B5EF4-FFF2-40B4-BE49-F238E27FC236}">
                <a16:creationId xmlns:a16="http://schemas.microsoft.com/office/drawing/2014/main" xmlns="" id="{2D638F59-4781-4E34-8DB1-DF957E2A1BB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020301" y="5031904"/>
            <a:ext cx="393792" cy="249236"/>
          </a:xfrm>
        </p:spPr>
        <p:txBody>
          <a:bodyPr tIns="0"/>
          <a:lstStyle>
            <a:lvl1pPr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06</a:t>
            </a:r>
            <a:endParaRPr lang="en-GB" dirty="0"/>
          </a:p>
        </p:txBody>
      </p:sp>
      <p:sp>
        <p:nvSpPr>
          <p:cNvPr id="41" name="Text Placeholder 24">
            <a:extLst>
              <a:ext uri="{FF2B5EF4-FFF2-40B4-BE49-F238E27FC236}">
                <a16:creationId xmlns:a16="http://schemas.microsoft.com/office/drawing/2014/main" xmlns="" id="{A7BB4135-8458-40E3-BA87-C75B803AE08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0020301" y="5432647"/>
            <a:ext cx="393792" cy="249236"/>
          </a:xfrm>
        </p:spPr>
        <p:txBody>
          <a:bodyPr tIns="0"/>
          <a:lstStyle>
            <a:lvl1pPr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07</a:t>
            </a:r>
            <a:endParaRPr lang="en-GB" dirty="0"/>
          </a:p>
        </p:txBody>
      </p:sp>
      <p:sp>
        <p:nvSpPr>
          <p:cNvPr id="42" name="Subtitle 2">
            <a:extLst>
              <a:ext uri="{FF2B5EF4-FFF2-40B4-BE49-F238E27FC236}">
                <a16:creationId xmlns:a16="http://schemas.microsoft.com/office/drawing/2014/main" xmlns="" id="{C6210C71-78ED-415C-9DC8-AC3CA995C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98908" y="3062693"/>
            <a:ext cx="8203776" cy="3019932"/>
          </a:xfrm>
        </p:spPr>
        <p:txBody>
          <a:bodyPr tIns="0"/>
          <a:lstStyle>
            <a:lvl1pPr marL="457200" marR="0" indent="-4572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sz="2000" b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ample text</a:t>
            </a:r>
          </a:p>
          <a:p>
            <a:r>
              <a:rPr lang="en-US" dirty="0"/>
              <a:t>Sample text</a:t>
            </a:r>
          </a:p>
          <a:p>
            <a:r>
              <a:rPr lang="en-US" dirty="0"/>
              <a:t>Sample text</a:t>
            </a:r>
          </a:p>
          <a:p>
            <a:pPr marL="457200" marR="0" lvl="0" indent="-4572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dirty="0"/>
              <a:t>Sample text</a:t>
            </a:r>
          </a:p>
          <a:p>
            <a:pPr marL="457200" marR="0" lvl="0" indent="-4572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dirty="0"/>
              <a:t>Sample text</a:t>
            </a:r>
          </a:p>
          <a:p>
            <a:pPr marL="457200" marR="0" lvl="0" indent="-4572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dirty="0"/>
              <a:t>Sample text</a:t>
            </a:r>
          </a:p>
          <a:p>
            <a:pPr marL="457200" marR="0" lvl="0" indent="-4572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dirty="0"/>
              <a:t>Sample text</a:t>
            </a:r>
          </a:p>
          <a:p>
            <a:pPr marL="457200" marR="0" lvl="0" indent="-4572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dirty="0"/>
              <a:t>Sample text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3" name="Text Placeholder 24">
            <a:extLst>
              <a:ext uri="{FF2B5EF4-FFF2-40B4-BE49-F238E27FC236}">
                <a16:creationId xmlns:a16="http://schemas.microsoft.com/office/drawing/2014/main" xmlns="" id="{58A61B6F-B3BC-4A8D-BD08-5DFDF0468F6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020301" y="3028189"/>
            <a:ext cx="393792" cy="249236"/>
          </a:xfrm>
        </p:spPr>
        <p:txBody>
          <a:bodyPr tIns="0"/>
          <a:lstStyle>
            <a:lvl1pPr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01</a:t>
            </a:r>
            <a:endParaRPr lang="en-GB" dirty="0"/>
          </a:p>
        </p:txBody>
      </p:sp>
      <p:sp>
        <p:nvSpPr>
          <p:cNvPr id="44" name="Text Placeholder 24">
            <a:extLst>
              <a:ext uri="{FF2B5EF4-FFF2-40B4-BE49-F238E27FC236}">
                <a16:creationId xmlns:a16="http://schemas.microsoft.com/office/drawing/2014/main" xmlns="" id="{0D99E737-3EEB-47CC-BAB0-AE54FFE8D23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0020301" y="5833389"/>
            <a:ext cx="393792" cy="249236"/>
          </a:xfrm>
        </p:spPr>
        <p:txBody>
          <a:bodyPr tIns="0"/>
          <a:lstStyle>
            <a:lvl1pPr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08</a:t>
            </a:r>
            <a:endParaRPr lang="en-GB" dirty="0"/>
          </a:p>
        </p:txBody>
      </p:sp>
      <p:sp>
        <p:nvSpPr>
          <p:cNvPr id="22" name="text" descr="{&#10; &quot;SkabelonDesign&quot;: {&#10; &quot;textualValue&quot;: &quot;&lt;key1/&gt;&quot;,&#10; &quot;bindingCollection&quot;: {&#10; &quot;key1&quot;: {&quot;SkabelonDesign&quot;:{&quot;type&quot;:&quot;Text&quot;,&quot;binding&quot;:&quot;Copyright&quot;}}&#10; }&#10; }&#10;}">
            <a:extLst>
              <a:ext uri="{FF2B5EF4-FFF2-40B4-BE49-F238E27FC236}">
                <a16:creationId xmlns:a16="http://schemas.microsoft.com/office/drawing/2014/main" xmlns="" id="{80C60511-8432-4230-A45D-38C56C7FACB3}"/>
              </a:ext>
            </a:extLst>
          </p:cNvPr>
          <p:cNvSpPr txBox="1"/>
          <p:nvPr userDrawn="1"/>
        </p:nvSpPr>
        <p:spPr bwMode="gray">
          <a:xfrm>
            <a:off x="777600" y="6543351"/>
            <a:ext cx="2433600" cy="16920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0" i="0" u="none" strike="noStrike" kern="1200" cap="none" spc="-1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© 2023 Hitachi Energy. All rights reserved.</a:t>
            </a:r>
            <a:endParaRPr kumimoji="0" lang="en-GB" sz="900" b="0" i="0" u="none" strike="noStrike" kern="1200" cap="none" spc="-1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4" name="text" descr="{&#10; &quot;SkabelonDesign&quot;: {&#10; &quot;textualValue&quot;: &quot;&lt;key1/&gt;&quot;,&#10; &quot;bindingCollection&quot;: {&#10; &quot;key1&quot;: {&quot;SkabelonDesign&quot;:{&quot;type&quot;:&quot;Text&quot;,&quot;binding&quot;:&quot;SecurityLevel&quot;}}&#10; }&#10; }&#10;}">
            <a:extLst>
              <a:ext uri="{FF2B5EF4-FFF2-40B4-BE49-F238E27FC236}">
                <a16:creationId xmlns:a16="http://schemas.microsoft.com/office/drawing/2014/main" xmlns="" id="{38A0AA6D-DD8B-4E42-862C-7DF76A83992C}"/>
              </a:ext>
            </a:extLst>
          </p:cNvPr>
          <p:cNvSpPr txBox="1"/>
          <p:nvPr userDrawn="1"/>
        </p:nvSpPr>
        <p:spPr bwMode="gray">
          <a:xfrm>
            <a:off x="777600" y="6411600"/>
            <a:ext cx="2433600" cy="16920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l-PL" sz="900" b="0" i="0" u="none" strike="noStrike" kern="1200" cap="none" spc="-1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ublic</a:t>
            </a:r>
            <a:endParaRPr kumimoji="0" lang="en-GB" sz="900" b="0" i="0" u="none" strike="noStrike" kern="1200" cap="none" spc="-1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6" name="Footer Placeholder 3">
            <a:extLst>
              <a:ext uri="{FF2B5EF4-FFF2-40B4-BE49-F238E27FC236}">
                <a16:creationId xmlns:a16="http://schemas.microsoft.com/office/drawing/2014/main" xmlns="" id="{2515BDA8-4677-4B37-BDE2-18E362D22D5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416400" y="6433200"/>
            <a:ext cx="5040000" cy="25560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32894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&gt;Do not use layouts after this &gt;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0F124504-36FD-4753-851D-5B7D02D4A2D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rgbClr val="003755"/>
              </a:buClr>
            </a:pPr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5" name="Do not use"/>
          <p:cNvSpPr txBox="1"/>
          <p:nvPr userDrawn="1"/>
        </p:nvSpPr>
        <p:spPr>
          <a:xfrm>
            <a:off x="430213" y="656823"/>
            <a:ext cx="11356977" cy="28931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US" sz="4400" b="0" noProof="0" dirty="0">
                <a:solidFill>
                  <a:schemeClr val="bg1"/>
                </a:solidFill>
              </a:rPr>
              <a:t>If you see any </a:t>
            </a:r>
            <a:r>
              <a:rPr lang="en-US" sz="4400" b="1" i="1" noProof="0" dirty="0">
                <a:solidFill>
                  <a:schemeClr val="bg1"/>
                </a:solidFill>
              </a:rPr>
              <a:t>layouts after this </a:t>
            </a:r>
            <a:r>
              <a:rPr lang="en-US" sz="4400" b="0" i="0" noProof="0" dirty="0">
                <a:solidFill>
                  <a:schemeClr val="bg1"/>
                </a:solidFill>
              </a:rPr>
              <a:t>one</a:t>
            </a:r>
            <a:r>
              <a:rPr lang="en-US" sz="4400" b="1" i="1" noProof="0" dirty="0">
                <a:solidFill>
                  <a:schemeClr val="bg1"/>
                </a:solidFill>
              </a:rPr>
              <a:t>,</a:t>
            </a:r>
            <a:r>
              <a:rPr lang="en-US" sz="4400" b="0" i="0" noProof="0" dirty="0">
                <a:solidFill>
                  <a:schemeClr val="bg1"/>
                </a:solidFill>
              </a:rPr>
              <a:t/>
            </a:r>
            <a:br>
              <a:rPr lang="en-US" sz="4400" b="0" i="0" noProof="0" dirty="0">
                <a:solidFill>
                  <a:schemeClr val="bg1"/>
                </a:solidFill>
              </a:rPr>
            </a:br>
            <a:r>
              <a:rPr lang="en-US" sz="4400" b="0" noProof="0" dirty="0">
                <a:solidFill>
                  <a:schemeClr val="bg1"/>
                </a:solidFill>
              </a:rPr>
              <a:t>do not use them. These layouts </a:t>
            </a:r>
            <a:r>
              <a:rPr lang="en-US" sz="4400" b="1" i="1" u="none" noProof="0" dirty="0">
                <a:solidFill>
                  <a:schemeClr val="bg1"/>
                </a:solidFill>
              </a:rPr>
              <a:t>are not </a:t>
            </a:r>
            <a:r>
              <a:rPr lang="en-US" sz="4400" b="0" noProof="0" dirty="0">
                <a:solidFill>
                  <a:schemeClr val="bg1"/>
                </a:solidFill>
              </a:rPr>
              <a:t>part of our corporate template.</a:t>
            </a:r>
            <a:r>
              <a:rPr lang="en-US" sz="2800" b="0" noProof="0" dirty="0">
                <a:solidFill>
                  <a:schemeClr val="bg1"/>
                </a:solidFill>
              </a:rPr>
              <a:t/>
            </a:r>
            <a:br>
              <a:rPr lang="en-US" sz="2800" b="0" noProof="0" dirty="0">
                <a:solidFill>
                  <a:schemeClr val="bg1"/>
                </a:solidFill>
              </a:rPr>
            </a:br>
            <a:r>
              <a:rPr lang="en-US" sz="2800" b="0" noProof="0" dirty="0">
                <a:solidFill>
                  <a:schemeClr val="bg1"/>
                </a:solidFill>
              </a:rPr>
              <a:t/>
            </a:r>
            <a:br>
              <a:rPr lang="en-US" sz="2800" b="0" noProof="0" dirty="0">
                <a:solidFill>
                  <a:schemeClr val="bg1"/>
                </a:solidFill>
              </a:rPr>
            </a:br>
            <a:endParaRPr lang="en-US" sz="2800" b="0" noProof="0" dirty="0">
              <a:solidFill>
                <a:schemeClr val="bg1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xmlns="" id="{2BEB5E5A-DA85-4D5B-80B9-F94482F55D76}"/>
              </a:ext>
            </a:extLst>
          </p:cNvPr>
          <p:cNvGrpSpPr/>
          <p:nvPr userDrawn="1"/>
        </p:nvGrpSpPr>
        <p:grpSpPr>
          <a:xfrm rot="8100000">
            <a:off x="10404874" y="3325226"/>
            <a:ext cx="1036788" cy="1036788"/>
            <a:chOff x="6096000" y="4963130"/>
            <a:chExt cx="1456719" cy="1456719"/>
          </a:xfrm>
          <a:solidFill>
            <a:schemeClr val="bg1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xmlns="" id="{C823227E-A862-4A7F-BC20-0D107430AB2C}"/>
                </a:ext>
              </a:extLst>
            </p:cNvPr>
            <p:cNvSpPr/>
            <p:nvPr userDrawn="1"/>
          </p:nvSpPr>
          <p:spPr>
            <a:xfrm rot="5400000">
              <a:off x="5534135" y="5524995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en-US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xmlns="" id="{08501AE6-6504-4184-9443-E89AFACF769D}"/>
                </a:ext>
              </a:extLst>
            </p:cNvPr>
            <p:cNvSpPr/>
            <p:nvPr userDrawn="1"/>
          </p:nvSpPr>
          <p:spPr>
            <a:xfrm rot="10800000">
              <a:off x="6096000" y="4963130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en-US" sz="14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67CEE09B-6EE1-4BF2-85A3-DE69E91BC4C6}"/>
              </a:ext>
            </a:extLst>
          </p:cNvPr>
          <p:cNvSpPr/>
          <p:nvPr userDrawn="1"/>
        </p:nvSpPr>
        <p:spPr>
          <a:xfrm>
            <a:off x="430213" y="2588374"/>
            <a:ext cx="10152346" cy="22159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3800" b="1" i="1" noProof="0" dirty="0">
                <a:solidFill>
                  <a:schemeClr val="bg1"/>
                </a:solidFill>
              </a:rPr>
              <a:t>Do not use </a:t>
            </a:r>
            <a:endParaRPr lang="en-US" sz="2400" b="1" i="1" dirty="0"/>
          </a:p>
        </p:txBody>
      </p:sp>
      <p:sp>
        <p:nvSpPr>
          <p:cNvPr id="16" name="Do not use">
            <a:extLst>
              <a:ext uri="{FF2B5EF4-FFF2-40B4-BE49-F238E27FC236}">
                <a16:creationId xmlns:a16="http://schemas.microsoft.com/office/drawing/2014/main" xmlns="" id="{A8FA78FA-4D94-4717-B7C6-6F86378D6B01}"/>
              </a:ext>
            </a:extLst>
          </p:cNvPr>
          <p:cNvSpPr txBox="1"/>
          <p:nvPr userDrawn="1"/>
        </p:nvSpPr>
        <p:spPr>
          <a:xfrm>
            <a:off x="430214" y="5186455"/>
            <a:ext cx="11356974" cy="9694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US" sz="2000" b="0" noProof="0" dirty="0">
                <a:solidFill>
                  <a:schemeClr val="bg1"/>
                </a:solidFill>
              </a:rPr>
              <a:t>Due to PowerPoint’s standard Copy/Paste functionality extra undesirable layouts can appear.</a:t>
            </a:r>
          </a:p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US" sz="2000" b="0" noProof="0" dirty="0">
                <a:solidFill>
                  <a:schemeClr val="bg1"/>
                </a:solidFill>
              </a:rPr>
              <a:t>Also notice: Layouts after this might contain potential confidential information.</a:t>
            </a:r>
            <a:r>
              <a:rPr lang="en-US" sz="1800" b="0" noProof="0" dirty="0">
                <a:solidFill>
                  <a:schemeClr val="bg1"/>
                </a:solidFill>
              </a:rPr>
              <a:t/>
            </a:r>
            <a:br>
              <a:rPr lang="en-US" sz="1800" b="0" noProof="0" dirty="0">
                <a:solidFill>
                  <a:schemeClr val="bg1"/>
                </a:solidFill>
              </a:rPr>
            </a:br>
            <a:endParaRPr lang="en-US" sz="1800" b="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760056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Final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A247D608-C612-407F-964B-FA8ED4158CB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da-DK" sz="1400" dirty="0" err="1">
              <a:solidFill>
                <a:schemeClr val="tx1"/>
              </a:solidFill>
            </a:endParaRP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xmlns="" id="{4AFE14A6-233E-44A8-81E2-463A5FE37CD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3905686" y="3123000"/>
            <a:ext cx="4380627" cy="6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9422164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D0C0830-866B-454F-8AD4-E477C75F73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60786E63-0980-4EC3-9873-1D66DE7B0E3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4EC536-6FE3-4540-8D85-74C58F0BF697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A0F38BF6-5CCF-4A4D-8BBE-5B8AEA8819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xmlns="" id="{2CA57F80-1D5B-464E-B7FF-528EF2460270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 bwMode="gray">
          <a:xfrm>
            <a:off x="0" y="5805264"/>
            <a:ext cx="12192000" cy="539974"/>
          </a:xfrm>
          <a:solidFill>
            <a:srgbClr val="4D4D4D"/>
          </a:solidFill>
        </p:spPr>
        <p:txBody>
          <a:bodyPr lIns="252000" tIns="0" rIns="25200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Picture Placeholder 3">
            <a:extLst>
              <a:ext uri="{FF2B5EF4-FFF2-40B4-BE49-F238E27FC236}">
                <a16:creationId xmlns:a16="http://schemas.microsoft.com/office/drawing/2014/main" xmlns="" id="{A35559B1-D1F0-47DF-8A38-9BE9A49A001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171808" y="1125538"/>
            <a:ext cx="4755080" cy="4627806"/>
          </a:xfrm>
          <a:noFill/>
        </p:spPr>
        <p:txBody>
          <a:bodyPr tIns="756000" anchor="ctr"/>
          <a:lstStyle>
            <a:lvl1pPr algn="ctr">
              <a:defRPr>
                <a:solidFill>
                  <a:srgbClr val="737373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7CDFFC19-1451-47E7-A1DB-036812280BC1}"/>
              </a:ext>
            </a:extLst>
          </p:cNvPr>
          <p:cNvSpPr/>
          <p:nvPr userDrawn="1"/>
        </p:nvSpPr>
        <p:spPr>
          <a:xfrm>
            <a:off x="981750" y="4198876"/>
            <a:ext cx="6190058" cy="71320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DAAA9196-EAFF-4A1A-9733-D725654BE10D}"/>
              </a:ext>
            </a:extLst>
          </p:cNvPr>
          <p:cNvSpPr/>
          <p:nvPr userDrawn="1"/>
        </p:nvSpPr>
        <p:spPr>
          <a:xfrm>
            <a:off x="981750" y="1894709"/>
            <a:ext cx="6190058" cy="71320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B92617DA-4DC9-420B-8AA3-9B50125550A7}"/>
              </a:ext>
            </a:extLst>
          </p:cNvPr>
          <p:cNvSpPr/>
          <p:nvPr userDrawn="1"/>
        </p:nvSpPr>
        <p:spPr>
          <a:xfrm>
            <a:off x="981750" y="2662765"/>
            <a:ext cx="6190058" cy="71320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055DD97B-3848-4DCB-BE2A-999D204E30E8}"/>
              </a:ext>
            </a:extLst>
          </p:cNvPr>
          <p:cNvSpPr/>
          <p:nvPr userDrawn="1"/>
        </p:nvSpPr>
        <p:spPr>
          <a:xfrm>
            <a:off x="981750" y="1126653"/>
            <a:ext cx="6190058" cy="71320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xmlns="" id="{7149078E-67D9-408B-8FD9-2F6FDA10A855}"/>
              </a:ext>
            </a:extLst>
          </p:cNvPr>
          <p:cNvSpPr/>
          <p:nvPr userDrawn="1"/>
        </p:nvSpPr>
        <p:spPr>
          <a:xfrm>
            <a:off x="270929" y="1126653"/>
            <a:ext cx="710820" cy="7108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xmlns="" id="{35F661FA-368C-4BF1-B6F6-C198873B0611}"/>
              </a:ext>
            </a:extLst>
          </p:cNvPr>
          <p:cNvSpPr/>
          <p:nvPr userDrawn="1"/>
        </p:nvSpPr>
        <p:spPr>
          <a:xfrm>
            <a:off x="270929" y="1894709"/>
            <a:ext cx="710820" cy="710820"/>
          </a:xfrm>
          <a:prstGeom prst="rect">
            <a:avLst/>
          </a:prstGeom>
          <a:solidFill>
            <a:srgbClr val="2D2D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xmlns="" id="{E7C48B26-DCF6-43F8-BA6D-7E14761A4987}"/>
              </a:ext>
            </a:extLst>
          </p:cNvPr>
          <p:cNvSpPr/>
          <p:nvPr userDrawn="1"/>
        </p:nvSpPr>
        <p:spPr>
          <a:xfrm>
            <a:off x="270929" y="2662765"/>
            <a:ext cx="710820" cy="71082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xmlns="" id="{CB4E5854-0A1A-4F35-ACCE-CB76FC6C0F50}"/>
              </a:ext>
            </a:extLst>
          </p:cNvPr>
          <p:cNvSpPr/>
          <p:nvPr userDrawn="1"/>
        </p:nvSpPr>
        <p:spPr>
          <a:xfrm>
            <a:off x="981750" y="3430821"/>
            <a:ext cx="6190058" cy="71320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xmlns="" id="{54C2DE1A-C4DD-4657-B4FD-05282833B289}"/>
              </a:ext>
            </a:extLst>
          </p:cNvPr>
          <p:cNvSpPr/>
          <p:nvPr userDrawn="1"/>
        </p:nvSpPr>
        <p:spPr>
          <a:xfrm>
            <a:off x="270929" y="3430821"/>
            <a:ext cx="710820" cy="710820"/>
          </a:xfrm>
          <a:prstGeom prst="rect">
            <a:avLst/>
          </a:prstGeom>
          <a:solidFill>
            <a:srgbClr val="B3B3B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xmlns="" id="{A5DE3B8A-801F-44DE-9ADF-D33FF9BAF31E}"/>
              </a:ext>
            </a:extLst>
          </p:cNvPr>
          <p:cNvSpPr/>
          <p:nvPr userDrawn="1"/>
        </p:nvSpPr>
        <p:spPr>
          <a:xfrm>
            <a:off x="270929" y="4198876"/>
            <a:ext cx="710820" cy="710820"/>
          </a:xfrm>
          <a:prstGeom prst="rect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xmlns="" id="{C150F997-F632-46C7-923B-D00076538C22}"/>
              </a:ext>
            </a:extLst>
          </p:cNvPr>
          <p:cNvGrpSpPr/>
          <p:nvPr userDrawn="1"/>
        </p:nvGrpSpPr>
        <p:grpSpPr>
          <a:xfrm>
            <a:off x="407621" y="1269237"/>
            <a:ext cx="437437" cy="442905"/>
            <a:chOff x="120710" y="112297"/>
            <a:chExt cx="672979" cy="681392"/>
          </a:xfrm>
        </p:grpSpPr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xmlns="" id="{B66D052B-5CFF-473E-9A7E-C7A2A305D564}"/>
                </a:ext>
              </a:extLst>
            </p:cNvPr>
            <p:cNvGrpSpPr/>
            <p:nvPr/>
          </p:nvGrpSpPr>
          <p:grpSpPr>
            <a:xfrm>
              <a:off x="120710" y="167650"/>
              <a:ext cx="672979" cy="626039"/>
              <a:chOff x="120710" y="167650"/>
              <a:chExt cx="672979" cy="626039"/>
            </a:xfrm>
          </p:grpSpPr>
          <p:sp>
            <p:nvSpPr>
              <p:cNvPr id="35" name="Freeform: Shape 12">
                <a:extLst>
                  <a:ext uri="{FF2B5EF4-FFF2-40B4-BE49-F238E27FC236}">
                    <a16:creationId xmlns:a16="http://schemas.microsoft.com/office/drawing/2014/main" xmlns="" id="{A7E5499B-E602-4948-8426-DCA96EBECEEE}"/>
                  </a:ext>
                </a:extLst>
              </p:cNvPr>
              <p:cNvSpPr/>
              <p:nvPr/>
            </p:nvSpPr>
            <p:spPr>
              <a:xfrm>
                <a:off x="120710" y="305779"/>
                <a:ext cx="336489" cy="252367"/>
              </a:xfrm>
              <a:custGeom>
                <a:avLst/>
                <a:gdLst>
                  <a:gd name="connsiteX0" fmla="*/ 0 w 336489"/>
                  <a:gd name="connsiteY0" fmla="*/ 252367 h 252367"/>
                  <a:gd name="connsiteX1" fmla="*/ 336490 w 336489"/>
                  <a:gd name="connsiteY1" fmla="*/ 252367 h 252367"/>
                  <a:gd name="connsiteX2" fmla="*/ 168245 w 336489"/>
                  <a:gd name="connsiteY2" fmla="*/ 0 h 252367"/>
                  <a:gd name="connsiteX3" fmla="*/ 168245 w 336489"/>
                  <a:gd name="connsiteY3" fmla="*/ 0 h 252367"/>
                  <a:gd name="connsiteX4" fmla="*/ 0 w 336489"/>
                  <a:gd name="connsiteY4" fmla="*/ 252367 h 2523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36489" h="252367">
                    <a:moveTo>
                      <a:pt x="0" y="252367"/>
                    </a:moveTo>
                    <a:lnTo>
                      <a:pt x="336490" y="252367"/>
                    </a:lnTo>
                    <a:cubicBezTo>
                      <a:pt x="336490" y="252367"/>
                      <a:pt x="336322" y="0"/>
                      <a:pt x="168245" y="0"/>
                    </a:cubicBezTo>
                    <a:lnTo>
                      <a:pt x="168245" y="0"/>
                    </a:lnTo>
                    <a:cubicBezTo>
                      <a:pt x="168" y="0"/>
                      <a:pt x="0" y="252367"/>
                      <a:pt x="0" y="252367"/>
                    </a:cubicBezTo>
                    <a:close/>
                  </a:path>
                </a:pathLst>
              </a:custGeom>
              <a:noFill/>
              <a:ln w="12700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6" name="Freeform: Shape 13">
                <a:extLst>
                  <a:ext uri="{FF2B5EF4-FFF2-40B4-BE49-F238E27FC236}">
                    <a16:creationId xmlns:a16="http://schemas.microsoft.com/office/drawing/2014/main" xmlns="" id="{70081BDF-3CD7-4662-986E-CBA99BE21C69}"/>
                  </a:ext>
                </a:extLst>
              </p:cNvPr>
              <p:cNvSpPr/>
              <p:nvPr/>
            </p:nvSpPr>
            <p:spPr>
              <a:xfrm>
                <a:off x="558146" y="356253"/>
                <a:ext cx="134595" cy="134595"/>
              </a:xfrm>
              <a:custGeom>
                <a:avLst/>
                <a:gdLst>
                  <a:gd name="connsiteX0" fmla="*/ 134596 w 134595"/>
                  <a:gd name="connsiteY0" fmla="*/ 67298 h 134595"/>
                  <a:gd name="connsiteX1" fmla="*/ 67298 w 134595"/>
                  <a:gd name="connsiteY1" fmla="*/ 134596 h 134595"/>
                  <a:gd name="connsiteX2" fmla="*/ 0 w 134595"/>
                  <a:gd name="connsiteY2" fmla="*/ 67298 h 134595"/>
                  <a:gd name="connsiteX3" fmla="*/ 67298 w 134595"/>
                  <a:gd name="connsiteY3" fmla="*/ 0 h 134595"/>
                  <a:gd name="connsiteX4" fmla="*/ 134596 w 134595"/>
                  <a:gd name="connsiteY4" fmla="*/ 67298 h 1345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4595" h="134595">
                    <a:moveTo>
                      <a:pt x="134596" y="67298"/>
                    </a:moveTo>
                    <a:cubicBezTo>
                      <a:pt x="134596" y="104466"/>
                      <a:pt x="104466" y="134596"/>
                      <a:pt x="67298" y="134596"/>
                    </a:cubicBezTo>
                    <a:cubicBezTo>
                      <a:pt x="30130" y="134596"/>
                      <a:pt x="0" y="104466"/>
                      <a:pt x="0" y="67298"/>
                    </a:cubicBezTo>
                    <a:cubicBezTo>
                      <a:pt x="0" y="30130"/>
                      <a:pt x="30130" y="0"/>
                      <a:pt x="67298" y="0"/>
                    </a:cubicBezTo>
                    <a:cubicBezTo>
                      <a:pt x="104466" y="0"/>
                      <a:pt x="134596" y="30130"/>
                      <a:pt x="134596" y="67298"/>
                    </a:cubicBezTo>
                    <a:close/>
                  </a:path>
                </a:pathLst>
              </a:custGeom>
              <a:noFill/>
              <a:ln w="12700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7" name="Freeform: Shape 14">
                <a:extLst>
                  <a:ext uri="{FF2B5EF4-FFF2-40B4-BE49-F238E27FC236}">
                    <a16:creationId xmlns:a16="http://schemas.microsoft.com/office/drawing/2014/main" xmlns="" id="{FC547024-0E9F-4241-A0F6-175A2F404274}"/>
                  </a:ext>
                </a:extLst>
              </p:cNvPr>
              <p:cNvSpPr/>
              <p:nvPr/>
            </p:nvSpPr>
            <p:spPr>
              <a:xfrm>
                <a:off x="457200" y="541322"/>
                <a:ext cx="336489" cy="252367"/>
              </a:xfrm>
              <a:custGeom>
                <a:avLst/>
                <a:gdLst>
                  <a:gd name="connsiteX0" fmla="*/ 0 w 336489"/>
                  <a:gd name="connsiteY0" fmla="*/ 252367 h 252367"/>
                  <a:gd name="connsiteX1" fmla="*/ 336490 w 336489"/>
                  <a:gd name="connsiteY1" fmla="*/ 252367 h 252367"/>
                  <a:gd name="connsiteX2" fmla="*/ 168245 w 336489"/>
                  <a:gd name="connsiteY2" fmla="*/ 0 h 252367"/>
                  <a:gd name="connsiteX3" fmla="*/ 168245 w 336489"/>
                  <a:gd name="connsiteY3" fmla="*/ 0 h 252367"/>
                  <a:gd name="connsiteX4" fmla="*/ 0 w 336489"/>
                  <a:gd name="connsiteY4" fmla="*/ 252367 h 2523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36489" h="252367">
                    <a:moveTo>
                      <a:pt x="0" y="252367"/>
                    </a:moveTo>
                    <a:lnTo>
                      <a:pt x="336490" y="252367"/>
                    </a:lnTo>
                    <a:cubicBezTo>
                      <a:pt x="336490" y="252367"/>
                      <a:pt x="336322" y="0"/>
                      <a:pt x="168245" y="0"/>
                    </a:cubicBezTo>
                    <a:lnTo>
                      <a:pt x="168245" y="0"/>
                    </a:lnTo>
                    <a:cubicBezTo>
                      <a:pt x="168" y="0"/>
                      <a:pt x="0" y="252367"/>
                      <a:pt x="0" y="252367"/>
                    </a:cubicBezTo>
                    <a:close/>
                  </a:path>
                </a:pathLst>
              </a:custGeom>
              <a:noFill/>
              <a:ln w="12700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8" name="Freeform: Shape 15">
                <a:extLst>
                  <a:ext uri="{FF2B5EF4-FFF2-40B4-BE49-F238E27FC236}">
                    <a16:creationId xmlns:a16="http://schemas.microsoft.com/office/drawing/2014/main" xmlns="" id="{C0ABDA4B-5466-44C9-AF83-CADA07CE744C}"/>
                  </a:ext>
                </a:extLst>
              </p:cNvPr>
              <p:cNvSpPr/>
              <p:nvPr/>
            </p:nvSpPr>
            <p:spPr>
              <a:xfrm>
                <a:off x="221657" y="339428"/>
                <a:ext cx="134595" cy="117771"/>
              </a:xfrm>
              <a:custGeom>
                <a:avLst/>
                <a:gdLst>
                  <a:gd name="connsiteX0" fmla="*/ 0 w 134595"/>
                  <a:gd name="connsiteY0" fmla="*/ 0 h 117771"/>
                  <a:gd name="connsiteX1" fmla="*/ 67298 w 134595"/>
                  <a:gd name="connsiteY1" fmla="*/ 117771 h 117771"/>
                  <a:gd name="connsiteX2" fmla="*/ 134596 w 134595"/>
                  <a:gd name="connsiteY2" fmla="*/ 0 h 1177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34595" h="117771">
                    <a:moveTo>
                      <a:pt x="0" y="0"/>
                    </a:moveTo>
                    <a:lnTo>
                      <a:pt x="67298" y="117771"/>
                    </a:lnTo>
                    <a:lnTo>
                      <a:pt x="134596" y="0"/>
                    </a:lnTo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9" name="Freeform: Shape 16">
                <a:extLst>
                  <a:ext uri="{FF2B5EF4-FFF2-40B4-BE49-F238E27FC236}">
                    <a16:creationId xmlns:a16="http://schemas.microsoft.com/office/drawing/2014/main" xmlns="" id="{1FDEFC82-F91A-4217-8DED-6ED5CCDC4AA1}"/>
                  </a:ext>
                </a:extLst>
              </p:cNvPr>
              <p:cNvSpPr/>
              <p:nvPr/>
            </p:nvSpPr>
            <p:spPr>
              <a:xfrm>
                <a:off x="204832" y="337409"/>
                <a:ext cx="84122" cy="119790"/>
              </a:xfrm>
              <a:custGeom>
                <a:avLst/>
                <a:gdLst>
                  <a:gd name="connsiteX0" fmla="*/ 13460 w 84122"/>
                  <a:gd name="connsiteY0" fmla="*/ 0 h 119790"/>
                  <a:gd name="connsiteX1" fmla="*/ 0 w 84122"/>
                  <a:gd name="connsiteY1" fmla="*/ 69317 h 119790"/>
                  <a:gd name="connsiteX2" fmla="*/ 84122 w 84122"/>
                  <a:gd name="connsiteY2" fmla="*/ 119790 h 119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4122" h="119790">
                    <a:moveTo>
                      <a:pt x="13460" y="0"/>
                    </a:moveTo>
                    <a:lnTo>
                      <a:pt x="0" y="69317"/>
                    </a:lnTo>
                    <a:lnTo>
                      <a:pt x="84122" y="119790"/>
                    </a:lnTo>
                  </a:path>
                </a:pathLst>
              </a:custGeom>
              <a:noFill/>
              <a:ln w="12700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0" name="Freeform: Shape 17">
                <a:extLst>
                  <a:ext uri="{FF2B5EF4-FFF2-40B4-BE49-F238E27FC236}">
                    <a16:creationId xmlns:a16="http://schemas.microsoft.com/office/drawing/2014/main" xmlns="" id="{15EBAB0D-EF93-4661-BE19-6758BB422096}"/>
                  </a:ext>
                </a:extLst>
              </p:cNvPr>
              <p:cNvSpPr/>
              <p:nvPr/>
            </p:nvSpPr>
            <p:spPr>
              <a:xfrm>
                <a:off x="288955" y="337409"/>
                <a:ext cx="84122" cy="119790"/>
              </a:xfrm>
              <a:custGeom>
                <a:avLst/>
                <a:gdLst>
                  <a:gd name="connsiteX0" fmla="*/ 70663 w 84122"/>
                  <a:gd name="connsiteY0" fmla="*/ 0 h 119790"/>
                  <a:gd name="connsiteX1" fmla="*/ 84122 w 84122"/>
                  <a:gd name="connsiteY1" fmla="*/ 69317 h 119790"/>
                  <a:gd name="connsiteX2" fmla="*/ 0 w 84122"/>
                  <a:gd name="connsiteY2" fmla="*/ 119790 h 119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4122" h="119790">
                    <a:moveTo>
                      <a:pt x="70663" y="0"/>
                    </a:moveTo>
                    <a:lnTo>
                      <a:pt x="84122" y="69317"/>
                    </a:lnTo>
                    <a:lnTo>
                      <a:pt x="0" y="119790"/>
                    </a:lnTo>
                  </a:path>
                </a:pathLst>
              </a:custGeom>
              <a:noFill/>
              <a:ln w="12700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1" name="Freeform: Shape 18">
                <a:extLst>
                  <a:ext uri="{FF2B5EF4-FFF2-40B4-BE49-F238E27FC236}">
                    <a16:creationId xmlns:a16="http://schemas.microsoft.com/office/drawing/2014/main" xmlns="" id="{1C6E9708-A79B-4B03-94D3-11943C3BC077}"/>
                  </a:ext>
                </a:extLst>
              </p:cNvPr>
              <p:cNvSpPr/>
              <p:nvPr/>
            </p:nvSpPr>
            <p:spPr>
              <a:xfrm>
                <a:off x="221657" y="167650"/>
                <a:ext cx="134595" cy="87655"/>
              </a:xfrm>
              <a:custGeom>
                <a:avLst/>
                <a:gdLst>
                  <a:gd name="connsiteX0" fmla="*/ 131736 w 134595"/>
                  <a:gd name="connsiteY0" fmla="*/ 0 h 87655"/>
                  <a:gd name="connsiteX1" fmla="*/ 134596 w 134595"/>
                  <a:gd name="connsiteY1" fmla="*/ 20358 h 87655"/>
                  <a:gd name="connsiteX2" fmla="*/ 67298 w 134595"/>
                  <a:gd name="connsiteY2" fmla="*/ 87656 h 87655"/>
                  <a:gd name="connsiteX3" fmla="*/ 0 w 134595"/>
                  <a:gd name="connsiteY3" fmla="*/ 20358 h 87655"/>
                  <a:gd name="connsiteX4" fmla="*/ 2692 w 134595"/>
                  <a:gd name="connsiteY4" fmla="*/ 673 h 87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4595" h="87655">
                    <a:moveTo>
                      <a:pt x="131736" y="0"/>
                    </a:moveTo>
                    <a:cubicBezTo>
                      <a:pt x="131736" y="0"/>
                      <a:pt x="134596" y="13291"/>
                      <a:pt x="134596" y="20358"/>
                    </a:cubicBezTo>
                    <a:cubicBezTo>
                      <a:pt x="134596" y="58886"/>
                      <a:pt x="105826" y="87656"/>
                      <a:pt x="67298" y="87656"/>
                    </a:cubicBezTo>
                    <a:cubicBezTo>
                      <a:pt x="28770" y="87656"/>
                      <a:pt x="0" y="58886"/>
                      <a:pt x="0" y="20358"/>
                    </a:cubicBezTo>
                    <a:cubicBezTo>
                      <a:pt x="0" y="13460"/>
                      <a:pt x="2692" y="673"/>
                      <a:pt x="2692" y="673"/>
                    </a:cubicBezTo>
                  </a:path>
                </a:pathLst>
              </a:custGeom>
              <a:noFill/>
              <a:ln w="12700" cap="flat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xmlns="" id="{EDF28C88-2F8B-48E8-BA68-64E0BAE9AD57}"/>
                </a:ext>
              </a:extLst>
            </p:cNvPr>
            <p:cNvGrpSpPr/>
            <p:nvPr/>
          </p:nvGrpSpPr>
          <p:grpSpPr>
            <a:xfrm>
              <a:off x="196420" y="112297"/>
              <a:ext cx="445848" cy="660697"/>
              <a:chOff x="196420" y="112297"/>
              <a:chExt cx="445848" cy="660697"/>
            </a:xfrm>
          </p:grpSpPr>
          <p:sp>
            <p:nvSpPr>
              <p:cNvPr id="31" name="Freeform: Shape 20">
                <a:extLst>
                  <a:ext uri="{FF2B5EF4-FFF2-40B4-BE49-F238E27FC236}">
                    <a16:creationId xmlns:a16="http://schemas.microsoft.com/office/drawing/2014/main" xmlns="" id="{18316B83-88FD-4903-ABEB-0DEDDF476E6A}"/>
                  </a:ext>
                </a:extLst>
              </p:cNvPr>
              <p:cNvSpPr/>
              <p:nvPr/>
            </p:nvSpPr>
            <p:spPr>
              <a:xfrm>
                <a:off x="625444" y="591795"/>
                <a:ext cx="16824" cy="33648"/>
              </a:xfrm>
              <a:custGeom>
                <a:avLst/>
                <a:gdLst>
                  <a:gd name="connsiteX0" fmla="*/ 0 w 16824"/>
                  <a:gd name="connsiteY0" fmla="*/ 0 h 33648"/>
                  <a:gd name="connsiteX1" fmla="*/ 0 w 16824"/>
                  <a:gd name="connsiteY1" fmla="*/ 33649 h 336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824" h="33648">
                    <a:moveTo>
                      <a:pt x="0" y="0"/>
                    </a:moveTo>
                    <a:lnTo>
                      <a:pt x="0" y="33649"/>
                    </a:lnTo>
                  </a:path>
                </a:pathLst>
              </a:custGeom>
              <a:ln w="12700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2" name="Freeform: Shape 21">
                <a:extLst>
                  <a:ext uri="{FF2B5EF4-FFF2-40B4-BE49-F238E27FC236}">
                    <a16:creationId xmlns:a16="http://schemas.microsoft.com/office/drawing/2014/main" xmlns="" id="{9ED7906D-2164-422E-A334-C4C3FA52EF95}"/>
                  </a:ext>
                </a:extLst>
              </p:cNvPr>
              <p:cNvSpPr/>
              <p:nvPr/>
            </p:nvSpPr>
            <p:spPr>
              <a:xfrm>
                <a:off x="625444" y="659093"/>
                <a:ext cx="16824" cy="113901"/>
              </a:xfrm>
              <a:custGeom>
                <a:avLst/>
                <a:gdLst>
                  <a:gd name="connsiteX0" fmla="*/ 0 w 16824"/>
                  <a:gd name="connsiteY0" fmla="*/ 0 h 113901"/>
                  <a:gd name="connsiteX1" fmla="*/ 0 w 16824"/>
                  <a:gd name="connsiteY1" fmla="*/ 113902 h 1139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824" h="113901">
                    <a:moveTo>
                      <a:pt x="0" y="0"/>
                    </a:moveTo>
                    <a:lnTo>
                      <a:pt x="0" y="113902"/>
                    </a:lnTo>
                  </a:path>
                </a:pathLst>
              </a:custGeom>
              <a:ln w="12700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3" name="Freeform: Shape 22">
                <a:extLst>
                  <a:ext uri="{FF2B5EF4-FFF2-40B4-BE49-F238E27FC236}">
                    <a16:creationId xmlns:a16="http://schemas.microsoft.com/office/drawing/2014/main" xmlns="" id="{EABCE330-2359-43E3-B0E0-DB16D728FB4C}"/>
                  </a:ext>
                </a:extLst>
              </p:cNvPr>
              <p:cNvSpPr/>
              <p:nvPr/>
            </p:nvSpPr>
            <p:spPr>
              <a:xfrm>
                <a:off x="196420" y="112297"/>
                <a:ext cx="185069" cy="143008"/>
              </a:xfrm>
              <a:custGeom>
                <a:avLst/>
                <a:gdLst>
                  <a:gd name="connsiteX0" fmla="*/ 185069 w 185069"/>
                  <a:gd name="connsiteY0" fmla="*/ 143008 h 143008"/>
                  <a:gd name="connsiteX1" fmla="*/ 169591 w 185069"/>
                  <a:gd name="connsiteY1" fmla="*/ 93712 h 143008"/>
                  <a:gd name="connsiteX2" fmla="*/ 92535 w 185069"/>
                  <a:gd name="connsiteY2" fmla="*/ 0 h 143008"/>
                  <a:gd name="connsiteX3" fmla="*/ 92535 w 185069"/>
                  <a:gd name="connsiteY3" fmla="*/ 0 h 143008"/>
                  <a:gd name="connsiteX4" fmla="*/ 15479 w 185069"/>
                  <a:gd name="connsiteY4" fmla="*/ 93712 h 143008"/>
                  <a:gd name="connsiteX5" fmla="*/ 0 w 185069"/>
                  <a:gd name="connsiteY5" fmla="*/ 143008 h 143008"/>
                  <a:gd name="connsiteX6" fmla="*/ 185069 w 185069"/>
                  <a:gd name="connsiteY6" fmla="*/ 143008 h 143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85069" h="143008">
                    <a:moveTo>
                      <a:pt x="185069" y="143008"/>
                    </a:moveTo>
                    <a:lnTo>
                      <a:pt x="169591" y="93712"/>
                    </a:lnTo>
                    <a:cubicBezTo>
                      <a:pt x="169591" y="93712"/>
                      <a:pt x="173124" y="0"/>
                      <a:pt x="92535" y="0"/>
                    </a:cubicBezTo>
                    <a:lnTo>
                      <a:pt x="92535" y="0"/>
                    </a:lnTo>
                    <a:cubicBezTo>
                      <a:pt x="11777" y="0"/>
                      <a:pt x="15479" y="93712"/>
                      <a:pt x="15479" y="93712"/>
                    </a:cubicBezTo>
                    <a:lnTo>
                      <a:pt x="0" y="143008"/>
                    </a:lnTo>
                    <a:lnTo>
                      <a:pt x="185069" y="143008"/>
                    </a:lnTo>
                    <a:close/>
                  </a:path>
                </a:pathLst>
              </a:custGeom>
              <a:noFill/>
              <a:ln w="12700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4" name="Freeform: Shape 23">
                <a:extLst>
                  <a:ext uri="{FF2B5EF4-FFF2-40B4-BE49-F238E27FC236}">
                    <a16:creationId xmlns:a16="http://schemas.microsoft.com/office/drawing/2014/main" xmlns="" id="{420078EE-359B-4DDD-A5E9-7C889B44369D}"/>
                  </a:ext>
                </a:extLst>
              </p:cNvPr>
              <p:cNvSpPr/>
              <p:nvPr/>
            </p:nvSpPr>
            <p:spPr>
              <a:xfrm>
                <a:off x="217451" y="171183"/>
                <a:ext cx="143008" cy="16824"/>
              </a:xfrm>
              <a:custGeom>
                <a:avLst/>
                <a:gdLst>
                  <a:gd name="connsiteX0" fmla="*/ 0 w 143008"/>
                  <a:gd name="connsiteY0" fmla="*/ 0 h 16824"/>
                  <a:gd name="connsiteX1" fmla="*/ 143008 w 143008"/>
                  <a:gd name="connsiteY1" fmla="*/ 0 h 168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43008" h="16824">
                    <a:moveTo>
                      <a:pt x="0" y="0"/>
                    </a:moveTo>
                    <a:lnTo>
                      <a:pt x="143008" y="0"/>
                    </a:lnTo>
                  </a:path>
                </a:pathLst>
              </a:custGeom>
              <a:ln w="12700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xmlns="" id="{870EEC78-E0B4-4F6B-B609-766A3A473A90}"/>
              </a:ext>
            </a:extLst>
          </p:cNvPr>
          <p:cNvGrpSpPr/>
          <p:nvPr userDrawn="1"/>
        </p:nvGrpSpPr>
        <p:grpSpPr>
          <a:xfrm>
            <a:off x="415975" y="2067751"/>
            <a:ext cx="420728" cy="420729"/>
            <a:chOff x="55053" y="55053"/>
            <a:chExt cx="804292" cy="804293"/>
          </a:xfrm>
        </p:grpSpPr>
        <p:grpSp>
          <p:nvGrpSpPr>
            <p:cNvPr id="46" name="Group 45">
              <a:extLst>
                <a:ext uri="{FF2B5EF4-FFF2-40B4-BE49-F238E27FC236}">
                  <a16:creationId xmlns:a16="http://schemas.microsoft.com/office/drawing/2014/main" xmlns="" id="{8821A099-EB9C-4270-BF15-DBCBB36E5059}"/>
                </a:ext>
              </a:extLst>
            </p:cNvPr>
            <p:cNvGrpSpPr/>
            <p:nvPr/>
          </p:nvGrpSpPr>
          <p:grpSpPr>
            <a:xfrm>
              <a:off x="55053" y="55053"/>
              <a:ext cx="804292" cy="804293"/>
              <a:chOff x="55053" y="55053"/>
              <a:chExt cx="804292" cy="804293"/>
            </a:xfrm>
          </p:grpSpPr>
          <p:sp>
            <p:nvSpPr>
              <p:cNvPr id="48" name="Freeform: Shape 412">
                <a:extLst>
                  <a:ext uri="{FF2B5EF4-FFF2-40B4-BE49-F238E27FC236}">
                    <a16:creationId xmlns:a16="http://schemas.microsoft.com/office/drawing/2014/main" xmlns="" id="{10FF859A-1C7D-4436-8F44-3C2B6B10C18C}"/>
                  </a:ext>
                </a:extLst>
              </p:cNvPr>
              <p:cNvSpPr/>
              <p:nvPr/>
            </p:nvSpPr>
            <p:spPr>
              <a:xfrm>
                <a:off x="135482" y="55053"/>
                <a:ext cx="643434" cy="261395"/>
              </a:xfrm>
              <a:custGeom>
                <a:avLst/>
                <a:gdLst>
                  <a:gd name="connsiteX0" fmla="*/ -4 w 643434"/>
                  <a:gd name="connsiteY0" fmla="*/ 261391 h 261395"/>
                  <a:gd name="connsiteX1" fmla="*/ 321713 w 643434"/>
                  <a:gd name="connsiteY1" fmla="*/ -4 h 261395"/>
                  <a:gd name="connsiteX2" fmla="*/ 643430 w 643434"/>
                  <a:gd name="connsiteY2" fmla="*/ 261391 h 2613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43434" h="261395">
                    <a:moveTo>
                      <a:pt x="-4" y="261391"/>
                    </a:moveTo>
                    <a:cubicBezTo>
                      <a:pt x="-4" y="140747"/>
                      <a:pt x="140747" y="-4"/>
                      <a:pt x="321713" y="-4"/>
                    </a:cubicBezTo>
                    <a:cubicBezTo>
                      <a:pt x="502679" y="-4"/>
                      <a:pt x="643430" y="140747"/>
                      <a:pt x="643430" y="261391"/>
                    </a:cubicBezTo>
                  </a:path>
                </a:pathLst>
              </a:custGeom>
              <a:noFill/>
              <a:ln w="12700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9" name="Freeform: Shape 413">
                <a:extLst>
                  <a:ext uri="{FF2B5EF4-FFF2-40B4-BE49-F238E27FC236}">
                    <a16:creationId xmlns:a16="http://schemas.microsoft.com/office/drawing/2014/main" xmlns="" id="{73F95008-C54C-4AA0-9877-8D16348E00A9}"/>
                  </a:ext>
                </a:extLst>
              </p:cNvPr>
              <p:cNvSpPr/>
              <p:nvPr/>
            </p:nvSpPr>
            <p:spPr>
              <a:xfrm>
                <a:off x="698487" y="236019"/>
                <a:ext cx="160858" cy="80429"/>
              </a:xfrm>
              <a:custGeom>
                <a:avLst/>
                <a:gdLst>
                  <a:gd name="connsiteX0" fmla="*/ 160859 w 160858"/>
                  <a:gd name="connsiteY0" fmla="*/ 0 h 80429"/>
                  <a:gd name="connsiteX1" fmla="*/ 80429 w 160858"/>
                  <a:gd name="connsiteY1" fmla="*/ 80429 h 80429"/>
                  <a:gd name="connsiteX2" fmla="*/ 0 w 160858"/>
                  <a:gd name="connsiteY2" fmla="*/ 0 h 804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60858" h="80429">
                    <a:moveTo>
                      <a:pt x="160859" y="0"/>
                    </a:moveTo>
                    <a:lnTo>
                      <a:pt x="80429" y="80429"/>
                    </a:lnTo>
                    <a:lnTo>
                      <a:pt x="0" y="0"/>
                    </a:lnTo>
                  </a:path>
                </a:pathLst>
              </a:custGeom>
              <a:noFill/>
              <a:ln w="12700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0" name="Freeform: Shape 414">
                <a:extLst>
                  <a:ext uri="{FF2B5EF4-FFF2-40B4-BE49-F238E27FC236}">
                    <a16:creationId xmlns:a16="http://schemas.microsoft.com/office/drawing/2014/main" xmlns="" id="{A2AEA8F9-DB11-4A20-ABB8-B3615A7D3013}"/>
                  </a:ext>
                </a:extLst>
              </p:cNvPr>
              <p:cNvSpPr/>
              <p:nvPr/>
            </p:nvSpPr>
            <p:spPr>
              <a:xfrm>
                <a:off x="135482" y="597951"/>
                <a:ext cx="643434" cy="261395"/>
              </a:xfrm>
              <a:custGeom>
                <a:avLst/>
                <a:gdLst>
                  <a:gd name="connsiteX0" fmla="*/ 643430 w 643434"/>
                  <a:gd name="connsiteY0" fmla="*/ -4 h 261395"/>
                  <a:gd name="connsiteX1" fmla="*/ 321713 w 643434"/>
                  <a:gd name="connsiteY1" fmla="*/ 261391 h 261395"/>
                  <a:gd name="connsiteX2" fmla="*/ -4 w 643434"/>
                  <a:gd name="connsiteY2" fmla="*/ -4 h 2613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43434" h="261395">
                    <a:moveTo>
                      <a:pt x="643430" y="-4"/>
                    </a:moveTo>
                    <a:cubicBezTo>
                      <a:pt x="643430" y="120640"/>
                      <a:pt x="502679" y="261391"/>
                      <a:pt x="321713" y="261391"/>
                    </a:cubicBezTo>
                    <a:cubicBezTo>
                      <a:pt x="140747" y="261391"/>
                      <a:pt x="-4" y="120640"/>
                      <a:pt x="-4" y="-4"/>
                    </a:cubicBezTo>
                  </a:path>
                </a:pathLst>
              </a:custGeom>
              <a:noFill/>
              <a:ln w="12700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1" name="Freeform: Shape 415">
                <a:extLst>
                  <a:ext uri="{FF2B5EF4-FFF2-40B4-BE49-F238E27FC236}">
                    <a16:creationId xmlns:a16="http://schemas.microsoft.com/office/drawing/2014/main" xmlns="" id="{B81DDDFD-0754-45D3-A28C-88BAC710D6AA}"/>
                  </a:ext>
                </a:extLst>
              </p:cNvPr>
              <p:cNvSpPr/>
              <p:nvPr/>
            </p:nvSpPr>
            <p:spPr>
              <a:xfrm>
                <a:off x="55053" y="597951"/>
                <a:ext cx="160858" cy="80429"/>
              </a:xfrm>
              <a:custGeom>
                <a:avLst/>
                <a:gdLst>
                  <a:gd name="connsiteX0" fmla="*/ 0 w 160858"/>
                  <a:gd name="connsiteY0" fmla="*/ 80429 h 80429"/>
                  <a:gd name="connsiteX1" fmla="*/ 80429 w 160858"/>
                  <a:gd name="connsiteY1" fmla="*/ 0 h 80429"/>
                  <a:gd name="connsiteX2" fmla="*/ 160859 w 160858"/>
                  <a:gd name="connsiteY2" fmla="*/ 80429 h 804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60858" h="80429">
                    <a:moveTo>
                      <a:pt x="0" y="80429"/>
                    </a:moveTo>
                    <a:lnTo>
                      <a:pt x="80429" y="0"/>
                    </a:lnTo>
                    <a:lnTo>
                      <a:pt x="160859" y="80429"/>
                    </a:lnTo>
                  </a:path>
                </a:pathLst>
              </a:custGeom>
              <a:noFill/>
              <a:ln w="12700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2" name="Freeform: Shape 416">
                <a:extLst>
                  <a:ext uri="{FF2B5EF4-FFF2-40B4-BE49-F238E27FC236}">
                    <a16:creationId xmlns:a16="http://schemas.microsoft.com/office/drawing/2014/main" xmlns="" id="{7D94ED11-E9F2-4849-A360-EC00E6550D16}"/>
                  </a:ext>
                </a:extLst>
              </p:cNvPr>
              <p:cNvSpPr/>
              <p:nvPr/>
            </p:nvSpPr>
            <p:spPr>
              <a:xfrm>
                <a:off x="406931" y="256126"/>
                <a:ext cx="100536" cy="100536"/>
              </a:xfrm>
              <a:custGeom>
                <a:avLst/>
                <a:gdLst>
                  <a:gd name="connsiteX0" fmla="*/ 100537 w 100536"/>
                  <a:gd name="connsiteY0" fmla="*/ 50268 h 100536"/>
                  <a:gd name="connsiteX1" fmla="*/ 50268 w 100536"/>
                  <a:gd name="connsiteY1" fmla="*/ 100537 h 100536"/>
                  <a:gd name="connsiteX2" fmla="*/ 0 w 100536"/>
                  <a:gd name="connsiteY2" fmla="*/ 50268 h 100536"/>
                  <a:gd name="connsiteX3" fmla="*/ 50268 w 100536"/>
                  <a:gd name="connsiteY3" fmla="*/ 0 h 100536"/>
                  <a:gd name="connsiteX4" fmla="*/ 100537 w 100536"/>
                  <a:gd name="connsiteY4" fmla="*/ 50268 h 1005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0536" h="100536">
                    <a:moveTo>
                      <a:pt x="100537" y="50268"/>
                    </a:moveTo>
                    <a:cubicBezTo>
                      <a:pt x="100537" y="78031"/>
                      <a:pt x="78031" y="100537"/>
                      <a:pt x="50268" y="100537"/>
                    </a:cubicBezTo>
                    <a:cubicBezTo>
                      <a:pt x="22506" y="100537"/>
                      <a:pt x="0" y="78031"/>
                      <a:pt x="0" y="50268"/>
                    </a:cubicBezTo>
                    <a:cubicBezTo>
                      <a:pt x="0" y="22506"/>
                      <a:pt x="22506" y="0"/>
                      <a:pt x="50268" y="0"/>
                    </a:cubicBezTo>
                    <a:cubicBezTo>
                      <a:pt x="78031" y="0"/>
                      <a:pt x="100537" y="22506"/>
                      <a:pt x="100537" y="50268"/>
                    </a:cubicBezTo>
                    <a:close/>
                  </a:path>
                </a:pathLst>
              </a:custGeom>
              <a:noFill/>
              <a:ln w="12700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47" name="Freeform: Shape 417">
              <a:extLst>
                <a:ext uri="{FF2B5EF4-FFF2-40B4-BE49-F238E27FC236}">
                  <a16:creationId xmlns:a16="http://schemas.microsoft.com/office/drawing/2014/main" xmlns="" id="{798E56FB-5288-47CA-AC7B-D76F6E2BED60}"/>
                </a:ext>
              </a:extLst>
            </p:cNvPr>
            <p:cNvSpPr/>
            <p:nvPr/>
          </p:nvSpPr>
          <p:spPr>
            <a:xfrm>
              <a:off x="326502" y="416985"/>
              <a:ext cx="261395" cy="221180"/>
            </a:xfrm>
            <a:custGeom>
              <a:avLst/>
              <a:gdLst>
                <a:gd name="connsiteX0" fmla="*/ 125667 w 261395"/>
                <a:gd name="connsiteY0" fmla="*/ -4 h 221180"/>
                <a:gd name="connsiteX1" fmla="*/ -4 w 261395"/>
                <a:gd name="connsiteY1" fmla="*/ 176940 h 221180"/>
                <a:gd name="connsiteX2" fmla="*/ -4 w 261395"/>
                <a:gd name="connsiteY2" fmla="*/ 221176 h 221180"/>
                <a:gd name="connsiteX3" fmla="*/ 261391 w 261395"/>
                <a:gd name="connsiteY3" fmla="*/ 221176 h 221180"/>
                <a:gd name="connsiteX4" fmla="*/ 261391 w 261395"/>
                <a:gd name="connsiteY4" fmla="*/ 176940 h 221180"/>
                <a:gd name="connsiteX5" fmla="*/ 125667 w 261395"/>
                <a:gd name="connsiteY5" fmla="*/ -4 h 221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1395" h="221180">
                  <a:moveTo>
                    <a:pt x="125667" y="-4"/>
                  </a:moveTo>
                  <a:cubicBezTo>
                    <a:pt x="-4" y="-4"/>
                    <a:pt x="-4" y="176940"/>
                    <a:pt x="-4" y="176940"/>
                  </a:cubicBezTo>
                  <a:lnTo>
                    <a:pt x="-4" y="221176"/>
                  </a:lnTo>
                  <a:lnTo>
                    <a:pt x="261391" y="221176"/>
                  </a:lnTo>
                  <a:lnTo>
                    <a:pt x="261391" y="176940"/>
                  </a:lnTo>
                  <a:cubicBezTo>
                    <a:pt x="261391" y="176940"/>
                    <a:pt x="261391" y="-4"/>
                    <a:pt x="125667" y="-4"/>
                  </a:cubicBezTo>
                  <a:close/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xmlns="" id="{3D908F71-E60F-4AA5-AB5A-14B5524F4A5A}"/>
              </a:ext>
            </a:extLst>
          </p:cNvPr>
          <p:cNvGrpSpPr/>
          <p:nvPr userDrawn="1"/>
        </p:nvGrpSpPr>
        <p:grpSpPr>
          <a:xfrm>
            <a:off x="407620" y="3597539"/>
            <a:ext cx="437438" cy="394762"/>
            <a:chOff x="112297" y="145946"/>
            <a:chExt cx="689804" cy="622506"/>
          </a:xfrm>
        </p:grpSpPr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xmlns="" id="{516C861F-4D65-4A84-A11E-A0DB6CBD9B26}"/>
                </a:ext>
              </a:extLst>
            </p:cNvPr>
            <p:cNvGrpSpPr/>
            <p:nvPr/>
          </p:nvGrpSpPr>
          <p:grpSpPr>
            <a:xfrm>
              <a:off x="230069" y="297367"/>
              <a:ext cx="454260" cy="420612"/>
              <a:chOff x="230069" y="297367"/>
              <a:chExt cx="454260" cy="420612"/>
            </a:xfrm>
          </p:grpSpPr>
          <p:sp>
            <p:nvSpPr>
              <p:cNvPr id="62" name="Freeform: Shape 23">
                <a:extLst>
                  <a:ext uri="{FF2B5EF4-FFF2-40B4-BE49-F238E27FC236}">
                    <a16:creationId xmlns:a16="http://schemas.microsoft.com/office/drawing/2014/main" xmlns="" id="{5AAB9996-1360-442C-BB72-687379455D82}"/>
                  </a:ext>
                </a:extLst>
              </p:cNvPr>
              <p:cNvSpPr/>
              <p:nvPr/>
            </p:nvSpPr>
            <p:spPr>
              <a:xfrm>
                <a:off x="364665" y="701155"/>
                <a:ext cx="185069" cy="16824"/>
              </a:xfrm>
              <a:custGeom>
                <a:avLst/>
                <a:gdLst>
                  <a:gd name="connsiteX0" fmla="*/ 185069 w 185069"/>
                  <a:gd name="connsiteY0" fmla="*/ 0 h 16824"/>
                  <a:gd name="connsiteX1" fmla="*/ 100947 w 185069"/>
                  <a:gd name="connsiteY1" fmla="*/ 16824 h 16824"/>
                  <a:gd name="connsiteX2" fmla="*/ 0 w 185069"/>
                  <a:gd name="connsiteY2" fmla="*/ 0 h 168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85069" h="16824">
                    <a:moveTo>
                      <a:pt x="185069" y="0"/>
                    </a:moveTo>
                    <a:cubicBezTo>
                      <a:pt x="185069" y="0"/>
                      <a:pt x="151589" y="16824"/>
                      <a:pt x="100947" y="16824"/>
                    </a:cubicBezTo>
                    <a:cubicBezTo>
                      <a:pt x="50642" y="16824"/>
                      <a:pt x="0" y="0"/>
                      <a:pt x="0" y="0"/>
                    </a:cubicBezTo>
                  </a:path>
                </a:pathLst>
              </a:custGeom>
              <a:noFill/>
              <a:ln w="12700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3" name="Freeform: Shape 24">
                <a:extLst>
                  <a:ext uri="{FF2B5EF4-FFF2-40B4-BE49-F238E27FC236}">
                    <a16:creationId xmlns:a16="http://schemas.microsoft.com/office/drawing/2014/main" xmlns="" id="{52A57428-C01E-4DBA-A521-858088D0E717}"/>
                  </a:ext>
                </a:extLst>
              </p:cNvPr>
              <p:cNvSpPr/>
              <p:nvPr/>
            </p:nvSpPr>
            <p:spPr>
              <a:xfrm>
                <a:off x="230069" y="297367"/>
                <a:ext cx="100946" cy="134595"/>
              </a:xfrm>
              <a:custGeom>
                <a:avLst/>
                <a:gdLst>
                  <a:gd name="connsiteX0" fmla="*/ 0 w 100946"/>
                  <a:gd name="connsiteY0" fmla="*/ 134596 h 134595"/>
                  <a:gd name="connsiteX1" fmla="*/ 34490 w 100946"/>
                  <a:gd name="connsiteY1" fmla="*/ 58886 h 134595"/>
                  <a:gd name="connsiteX2" fmla="*/ 100947 w 100946"/>
                  <a:gd name="connsiteY2" fmla="*/ 0 h 1345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0946" h="134595">
                    <a:moveTo>
                      <a:pt x="0" y="134596"/>
                    </a:moveTo>
                    <a:cubicBezTo>
                      <a:pt x="0" y="134596"/>
                      <a:pt x="4879" y="99937"/>
                      <a:pt x="34490" y="58886"/>
                    </a:cubicBezTo>
                    <a:cubicBezTo>
                      <a:pt x="63765" y="18002"/>
                      <a:pt x="100947" y="0"/>
                      <a:pt x="100947" y="0"/>
                    </a:cubicBezTo>
                  </a:path>
                </a:pathLst>
              </a:custGeom>
              <a:noFill/>
              <a:ln w="12700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4" name="Freeform: Shape 25">
                <a:extLst>
                  <a:ext uri="{FF2B5EF4-FFF2-40B4-BE49-F238E27FC236}">
                    <a16:creationId xmlns:a16="http://schemas.microsoft.com/office/drawing/2014/main" xmlns="" id="{C46A1BE8-12BD-45A1-94C6-9FBEC4EE0F47}"/>
                  </a:ext>
                </a:extLst>
              </p:cNvPr>
              <p:cNvSpPr/>
              <p:nvPr/>
            </p:nvSpPr>
            <p:spPr>
              <a:xfrm>
                <a:off x="583383" y="297367"/>
                <a:ext cx="100946" cy="134595"/>
              </a:xfrm>
              <a:custGeom>
                <a:avLst/>
                <a:gdLst>
                  <a:gd name="connsiteX0" fmla="*/ 100947 w 100946"/>
                  <a:gd name="connsiteY0" fmla="*/ 134596 h 134595"/>
                  <a:gd name="connsiteX1" fmla="*/ 62419 w 100946"/>
                  <a:gd name="connsiteY1" fmla="*/ 60905 h 134595"/>
                  <a:gd name="connsiteX2" fmla="*/ 0 w 100946"/>
                  <a:gd name="connsiteY2" fmla="*/ 0 h 1345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0946" h="134595">
                    <a:moveTo>
                      <a:pt x="100947" y="134596"/>
                    </a:moveTo>
                    <a:cubicBezTo>
                      <a:pt x="100947" y="134596"/>
                      <a:pt x="91862" y="101956"/>
                      <a:pt x="62419" y="60905"/>
                    </a:cubicBezTo>
                    <a:cubicBezTo>
                      <a:pt x="32976" y="20021"/>
                      <a:pt x="0" y="0"/>
                      <a:pt x="0" y="0"/>
                    </a:cubicBezTo>
                  </a:path>
                </a:pathLst>
              </a:custGeom>
              <a:noFill/>
              <a:ln w="12700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xmlns="" id="{64707134-9073-4920-B7FB-FF3374C7023F}"/>
                </a:ext>
              </a:extLst>
            </p:cNvPr>
            <p:cNvGrpSpPr/>
            <p:nvPr/>
          </p:nvGrpSpPr>
          <p:grpSpPr>
            <a:xfrm>
              <a:off x="112297" y="145946"/>
              <a:ext cx="689804" cy="622506"/>
              <a:chOff x="112297" y="145946"/>
              <a:chExt cx="689804" cy="622506"/>
            </a:xfrm>
          </p:grpSpPr>
          <p:sp>
            <p:nvSpPr>
              <p:cNvPr id="56" name="Freeform: Shape 27">
                <a:extLst>
                  <a:ext uri="{FF2B5EF4-FFF2-40B4-BE49-F238E27FC236}">
                    <a16:creationId xmlns:a16="http://schemas.microsoft.com/office/drawing/2014/main" xmlns="" id="{B230FB8C-2AB5-4E41-8944-BD4A14F6E1D1}"/>
                  </a:ext>
                </a:extLst>
              </p:cNvPr>
              <p:cNvSpPr/>
              <p:nvPr/>
            </p:nvSpPr>
            <p:spPr>
              <a:xfrm>
                <a:off x="347840" y="280542"/>
                <a:ext cx="218718" cy="168244"/>
              </a:xfrm>
              <a:custGeom>
                <a:avLst/>
                <a:gdLst>
                  <a:gd name="connsiteX0" fmla="*/ 0 w 218718"/>
                  <a:gd name="connsiteY0" fmla="*/ 168245 h 168244"/>
                  <a:gd name="connsiteX1" fmla="*/ 117771 w 218718"/>
                  <a:gd name="connsiteY1" fmla="*/ 0 h 168244"/>
                  <a:gd name="connsiteX2" fmla="*/ 218718 w 218718"/>
                  <a:gd name="connsiteY2" fmla="*/ 168245 h 168244"/>
                  <a:gd name="connsiteX3" fmla="*/ 0 w 218718"/>
                  <a:gd name="connsiteY3" fmla="*/ 168245 h 1682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8718" h="168244">
                    <a:moveTo>
                      <a:pt x="0" y="168245"/>
                    </a:moveTo>
                    <a:cubicBezTo>
                      <a:pt x="0" y="168245"/>
                      <a:pt x="0" y="0"/>
                      <a:pt x="117771" y="0"/>
                    </a:cubicBezTo>
                    <a:cubicBezTo>
                      <a:pt x="218718" y="0"/>
                      <a:pt x="218718" y="168245"/>
                      <a:pt x="218718" y="168245"/>
                    </a:cubicBezTo>
                    <a:lnTo>
                      <a:pt x="0" y="168245"/>
                    </a:lnTo>
                    <a:close/>
                  </a:path>
                </a:pathLst>
              </a:custGeom>
              <a:noFill/>
              <a:ln w="12700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7" name="Freeform: Shape 28">
                <a:extLst>
                  <a:ext uri="{FF2B5EF4-FFF2-40B4-BE49-F238E27FC236}">
                    <a16:creationId xmlns:a16="http://schemas.microsoft.com/office/drawing/2014/main" xmlns="" id="{2CE810AE-83A3-4AC4-ACB3-4B1C53870B21}"/>
                  </a:ext>
                </a:extLst>
              </p:cNvPr>
              <p:cNvSpPr/>
              <p:nvPr/>
            </p:nvSpPr>
            <p:spPr>
              <a:xfrm>
                <a:off x="179595" y="482436"/>
                <a:ext cx="84122" cy="84122"/>
              </a:xfrm>
              <a:custGeom>
                <a:avLst/>
                <a:gdLst>
                  <a:gd name="connsiteX0" fmla="*/ 84122 w 84122"/>
                  <a:gd name="connsiteY0" fmla="*/ 42061 h 84122"/>
                  <a:gd name="connsiteX1" fmla="*/ 42061 w 84122"/>
                  <a:gd name="connsiteY1" fmla="*/ 84122 h 84122"/>
                  <a:gd name="connsiteX2" fmla="*/ 0 w 84122"/>
                  <a:gd name="connsiteY2" fmla="*/ 42061 h 84122"/>
                  <a:gd name="connsiteX3" fmla="*/ 42061 w 84122"/>
                  <a:gd name="connsiteY3" fmla="*/ 0 h 84122"/>
                  <a:gd name="connsiteX4" fmla="*/ 84122 w 84122"/>
                  <a:gd name="connsiteY4" fmla="*/ 42061 h 841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4122" h="84122">
                    <a:moveTo>
                      <a:pt x="84122" y="42061"/>
                    </a:moveTo>
                    <a:cubicBezTo>
                      <a:pt x="84122" y="65291"/>
                      <a:pt x="65291" y="84122"/>
                      <a:pt x="42061" y="84122"/>
                    </a:cubicBezTo>
                    <a:cubicBezTo>
                      <a:pt x="18831" y="84122"/>
                      <a:pt x="0" y="65291"/>
                      <a:pt x="0" y="42061"/>
                    </a:cubicBezTo>
                    <a:cubicBezTo>
                      <a:pt x="0" y="18831"/>
                      <a:pt x="18831" y="0"/>
                      <a:pt x="42061" y="0"/>
                    </a:cubicBezTo>
                    <a:cubicBezTo>
                      <a:pt x="65291" y="0"/>
                      <a:pt x="84122" y="18831"/>
                      <a:pt x="84122" y="42061"/>
                    </a:cubicBezTo>
                    <a:close/>
                  </a:path>
                </a:pathLst>
              </a:custGeom>
              <a:noFill/>
              <a:ln w="12700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8" name="Freeform: Shape 29">
                <a:extLst>
                  <a:ext uri="{FF2B5EF4-FFF2-40B4-BE49-F238E27FC236}">
                    <a16:creationId xmlns:a16="http://schemas.microsoft.com/office/drawing/2014/main" xmlns="" id="{80B5EF06-11E7-4E28-A872-92B7F852CE57}"/>
                  </a:ext>
                </a:extLst>
              </p:cNvPr>
              <p:cNvSpPr/>
              <p:nvPr/>
            </p:nvSpPr>
            <p:spPr>
              <a:xfrm>
                <a:off x="650681" y="482436"/>
                <a:ext cx="84122" cy="84122"/>
              </a:xfrm>
              <a:custGeom>
                <a:avLst/>
                <a:gdLst>
                  <a:gd name="connsiteX0" fmla="*/ 84122 w 84122"/>
                  <a:gd name="connsiteY0" fmla="*/ 42061 h 84122"/>
                  <a:gd name="connsiteX1" fmla="*/ 42061 w 84122"/>
                  <a:gd name="connsiteY1" fmla="*/ 84122 h 84122"/>
                  <a:gd name="connsiteX2" fmla="*/ 0 w 84122"/>
                  <a:gd name="connsiteY2" fmla="*/ 42061 h 84122"/>
                  <a:gd name="connsiteX3" fmla="*/ 42061 w 84122"/>
                  <a:gd name="connsiteY3" fmla="*/ 0 h 84122"/>
                  <a:gd name="connsiteX4" fmla="*/ 84122 w 84122"/>
                  <a:gd name="connsiteY4" fmla="*/ 42061 h 841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4122" h="84122">
                    <a:moveTo>
                      <a:pt x="84122" y="42061"/>
                    </a:moveTo>
                    <a:cubicBezTo>
                      <a:pt x="84122" y="65291"/>
                      <a:pt x="65291" y="84122"/>
                      <a:pt x="42061" y="84122"/>
                    </a:cubicBezTo>
                    <a:cubicBezTo>
                      <a:pt x="18831" y="84122"/>
                      <a:pt x="0" y="65291"/>
                      <a:pt x="0" y="42061"/>
                    </a:cubicBezTo>
                    <a:cubicBezTo>
                      <a:pt x="0" y="18831"/>
                      <a:pt x="18831" y="0"/>
                      <a:pt x="42061" y="0"/>
                    </a:cubicBezTo>
                    <a:cubicBezTo>
                      <a:pt x="65291" y="0"/>
                      <a:pt x="84122" y="18831"/>
                      <a:pt x="84122" y="42061"/>
                    </a:cubicBezTo>
                    <a:close/>
                  </a:path>
                </a:pathLst>
              </a:custGeom>
              <a:noFill/>
              <a:ln w="12700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9" name="Freeform: Shape 30">
                <a:extLst>
                  <a:ext uri="{FF2B5EF4-FFF2-40B4-BE49-F238E27FC236}">
                    <a16:creationId xmlns:a16="http://schemas.microsoft.com/office/drawing/2014/main" xmlns="" id="{2607631E-4FC8-41B6-97E5-6E97768C143C}"/>
                  </a:ext>
                </a:extLst>
              </p:cNvPr>
              <p:cNvSpPr/>
              <p:nvPr/>
            </p:nvSpPr>
            <p:spPr>
              <a:xfrm>
                <a:off x="415138" y="145946"/>
                <a:ext cx="84122" cy="84122"/>
              </a:xfrm>
              <a:custGeom>
                <a:avLst/>
                <a:gdLst>
                  <a:gd name="connsiteX0" fmla="*/ 84122 w 84122"/>
                  <a:gd name="connsiteY0" fmla="*/ 42061 h 84122"/>
                  <a:gd name="connsiteX1" fmla="*/ 42061 w 84122"/>
                  <a:gd name="connsiteY1" fmla="*/ 84122 h 84122"/>
                  <a:gd name="connsiteX2" fmla="*/ 0 w 84122"/>
                  <a:gd name="connsiteY2" fmla="*/ 42061 h 84122"/>
                  <a:gd name="connsiteX3" fmla="*/ 42061 w 84122"/>
                  <a:gd name="connsiteY3" fmla="*/ 0 h 84122"/>
                  <a:gd name="connsiteX4" fmla="*/ 84122 w 84122"/>
                  <a:gd name="connsiteY4" fmla="*/ 42061 h 841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4122" h="84122">
                    <a:moveTo>
                      <a:pt x="84122" y="42061"/>
                    </a:moveTo>
                    <a:cubicBezTo>
                      <a:pt x="84122" y="65291"/>
                      <a:pt x="65291" y="84122"/>
                      <a:pt x="42061" y="84122"/>
                    </a:cubicBezTo>
                    <a:cubicBezTo>
                      <a:pt x="18831" y="84122"/>
                      <a:pt x="0" y="65291"/>
                      <a:pt x="0" y="42061"/>
                    </a:cubicBezTo>
                    <a:cubicBezTo>
                      <a:pt x="0" y="18831"/>
                      <a:pt x="18831" y="0"/>
                      <a:pt x="42061" y="0"/>
                    </a:cubicBezTo>
                    <a:cubicBezTo>
                      <a:pt x="65291" y="0"/>
                      <a:pt x="84122" y="18831"/>
                      <a:pt x="84122" y="42061"/>
                    </a:cubicBezTo>
                    <a:close/>
                  </a:path>
                </a:pathLst>
              </a:custGeom>
              <a:noFill/>
              <a:ln w="12700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0" name="Freeform: Shape 31">
                <a:extLst>
                  <a:ext uri="{FF2B5EF4-FFF2-40B4-BE49-F238E27FC236}">
                    <a16:creationId xmlns:a16="http://schemas.microsoft.com/office/drawing/2014/main" xmlns="" id="{E16AD53F-2657-43F4-8BD6-03AEB156FBFA}"/>
                  </a:ext>
                </a:extLst>
              </p:cNvPr>
              <p:cNvSpPr/>
              <p:nvPr/>
            </p:nvSpPr>
            <p:spPr>
              <a:xfrm>
                <a:off x="112297" y="600208"/>
                <a:ext cx="218718" cy="168244"/>
              </a:xfrm>
              <a:custGeom>
                <a:avLst/>
                <a:gdLst>
                  <a:gd name="connsiteX0" fmla="*/ 0 w 218718"/>
                  <a:gd name="connsiteY0" fmla="*/ 168245 h 168244"/>
                  <a:gd name="connsiteX1" fmla="*/ 117771 w 218718"/>
                  <a:gd name="connsiteY1" fmla="*/ 0 h 168244"/>
                  <a:gd name="connsiteX2" fmla="*/ 218718 w 218718"/>
                  <a:gd name="connsiteY2" fmla="*/ 168245 h 168244"/>
                  <a:gd name="connsiteX3" fmla="*/ 0 w 218718"/>
                  <a:gd name="connsiteY3" fmla="*/ 168245 h 1682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8718" h="168244">
                    <a:moveTo>
                      <a:pt x="0" y="168245"/>
                    </a:moveTo>
                    <a:cubicBezTo>
                      <a:pt x="0" y="168245"/>
                      <a:pt x="0" y="0"/>
                      <a:pt x="117771" y="0"/>
                    </a:cubicBezTo>
                    <a:cubicBezTo>
                      <a:pt x="218718" y="0"/>
                      <a:pt x="218718" y="168245"/>
                      <a:pt x="218718" y="168245"/>
                    </a:cubicBezTo>
                    <a:lnTo>
                      <a:pt x="0" y="168245"/>
                    </a:lnTo>
                    <a:close/>
                  </a:path>
                </a:pathLst>
              </a:custGeom>
              <a:noFill/>
              <a:ln w="12700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1" name="Freeform: Shape 32">
                <a:extLst>
                  <a:ext uri="{FF2B5EF4-FFF2-40B4-BE49-F238E27FC236}">
                    <a16:creationId xmlns:a16="http://schemas.microsoft.com/office/drawing/2014/main" xmlns="" id="{647E4348-AFD3-424C-AD01-31033AD2EE01}"/>
                  </a:ext>
                </a:extLst>
              </p:cNvPr>
              <p:cNvSpPr/>
              <p:nvPr/>
            </p:nvSpPr>
            <p:spPr>
              <a:xfrm>
                <a:off x="583383" y="600208"/>
                <a:ext cx="218718" cy="168244"/>
              </a:xfrm>
              <a:custGeom>
                <a:avLst/>
                <a:gdLst>
                  <a:gd name="connsiteX0" fmla="*/ 0 w 218718"/>
                  <a:gd name="connsiteY0" fmla="*/ 168245 h 168244"/>
                  <a:gd name="connsiteX1" fmla="*/ 117771 w 218718"/>
                  <a:gd name="connsiteY1" fmla="*/ 0 h 168244"/>
                  <a:gd name="connsiteX2" fmla="*/ 218718 w 218718"/>
                  <a:gd name="connsiteY2" fmla="*/ 168245 h 168244"/>
                  <a:gd name="connsiteX3" fmla="*/ 0 w 218718"/>
                  <a:gd name="connsiteY3" fmla="*/ 168245 h 1682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8718" h="168244">
                    <a:moveTo>
                      <a:pt x="0" y="168245"/>
                    </a:moveTo>
                    <a:cubicBezTo>
                      <a:pt x="0" y="168245"/>
                      <a:pt x="0" y="0"/>
                      <a:pt x="117771" y="0"/>
                    </a:cubicBezTo>
                    <a:cubicBezTo>
                      <a:pt x="218718" y="0"/>
                      <a:pt x="218718" y="168245"/>
                      <a:pt x="218718" y="168245"/>
                    </a:cubicBezTo>
                    <a:lnTo>
                      <a:pt x="0" y="168245"/>
                    </a:lnTo>
                    <a:close/>
                  </a:path>
                </a:pathLst>
              </a:custGeom>
              <a:noFill/>
              <a:ln w="12700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xmlns="" id="{82DB811C-01CD-4D3F-9BFF-97248EFED4C7}"/>
              </a:ext>
            </a:extLst>
          </p:cNvPr>
          <p:cNvGrpSpPr/>
          <p:nvPr userDrawn="1"/>
        </p:nvGrpSpPr>
        <p:grpSpPr>
          <a:xfrm>
            <a:off x="418408" y="4346356"/>
            <a:ext cx="415864" cy="415862"/>
            <a:chOff x="120909" y="120909"/>
            <a:chExt cx="672581" cy="672581"/>
          </a:xfrm>
        </p:grpSpPr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xmlns="" id="{91352F5C-3A16-4FB9-BEFC-AE6363FEAC94}"/>
                </a:ext>
              </a:extLst>
            </p:cNvPr>
            <p:cNvGrpSpPr/>
            <p:nvPr/>
          </p:nvGrpSpPr>
          <p:grpSpPr>
            <a:xfrm>
              <a:off x="188167" y="322683"/>
              <a:ext cx="538064" cy="386734"/>
              <a:chOff x="188167" y="322683"/>
              <a:chExt cx="538064" cy="386734"/>
            </a:xfrm>
          </p:grpSpPr>
          <p:sp>
            <p:nvSpPr>
              <p:cNvPr id="74" name="Freeform: Shape 64">
                <a:extLst>
                  <a:ext uri="{FF2B5EF4-FFF2-40B4-BE49-F238E27FC236}">
                    <a16:creationId xmlns:a16="http://schemas.microsoft.com/office/drawing/2014/main" xmlns="" id="{6EFB78BA-A097-47CE-A930-87C8B26E96E2}"/>
                  </a:ext>
                </a:extLst>
              </p:cNvPr>
              <p:cNvSpPr/>
              <p:nvPr/>
            </p:nvSpPr>
            <p:spPr>
              <a:xfrm>
                <a:off x="339498" y="474014"/>
                <a:ext cx="84072" cy="84072"/>
              </a:xfrm>
              <a:custGeom>
                <a:avLst/>
                <a:gdLst>
                  <a:gd name="connsiteX0" fmla="*/ 0 w 84072"/>
                  <a:gd name="connsiteY0" fmla="*/ 0 h 84072"/>
                  <a:gd name="connsiteX1" fmla="*/ 84073 w 84072"/>
                  <a:gd name="connsiteY1" fmla="*/ 0 h 84072"/>
                  <a:gd name="connsiteX2" fmla="*/ 84073 w 84072"/>
                  <a:gd name="connsiteY2" fmla="*/ 84073 h 84072"/>
                  <a:gd name="connsiteX3" fmla="*/ 0 w 84072"/>
                  <a:gd name="connsiteY3" fmla="*/ 84073 h 840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4072" h="84072">
                    <a:moveTo>
                      <a:pt x="0" y="0"/>
                    </a:moveTo>
                    <a:lnTo>
                      <a:pt x="84073" y="0"/>
                    </a:lnTo>
                    <a:lnTo>
                      <a:pt x="84073" y="84073"/>
                    </a:lnTo>
                    <a:lnTo>
                      <a:pt x="0" y="84073"/>
                    </a:lnTo>
                    <a:close/>
                  </a:path>
                </a:pathLst>
              </a:custGeom>
              <a:noFill/>
              <a:ln w="12700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5" name="Freeform: Shape 65">
                <a:extLst>
                  <a:ext uri="{FF2B5EF4-FFF2-40B4-BE49-F238E27FC236}">
                    <a16:creationId xmlns:a16="http://schemas.microsoft.com/office/drawing/2014/main" xmlns="" id="{45A75322-AF2E-4B1F-B93D-6D3D18C496CB}"/>
                  </a:ext>
                </a:extLst>
              </p:cNvPr>
              <p:cNvSpPr/>
              <p:nvPr/>
            </p:nvSpPr>
            <p:spPr>
              <a:xfrm>
                <a:off x="339498" y="625345"/>
                <a:ext cx="84072" cy="84072"/>
              </a:xfrm>
              <a:custGeom>
                <a:avLst/>
                <a:gdLst>
                  <a:gd name="connsiteX0" fmla="*/ 0 w 84072"/>
                  <a:gd name="connsiteY0" fmla="*/ 0 h 84072"/>
                  <a:gd name="connsiteX1" fmla="*/ 84073 w 84072"/>
                  <a:gd name="connsiteY1" fmla="*/ 0 h 84072"/>
                  <a:gd name="connsiteX2" fmla="*/ 84073 w 84072"/>
                  <a:gd name="connsiteY2" fmla="*/ 84073 h 84072"/>
                  <a:gd name="connsiteX3" fmla="*/ 0 w 84072"/>
                  <a:gd name="connsiteY3" fmla="*/ 84073 h 840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4072" h="84072">
                    <a:moveTo>
                      <a:pt x="0" y="0"/>
                    </a:moveTo>
                    <a:lnTo>
                      <a:pt x="84073" y="0"/>
                    </a:lnTo>
                    <a:lnTo>
                      <a:pt x="84073" y="84073"/>
                    </a:lnTo>
                    <a:lnTo>
                      <a:pt x="0" y="84073"/>
                    </a:lnTo>
                    <a:close/>
                  </a:path>
                </a:pathLst>
              </a:custGeom>
              <a:noFill/>
              <a:ln w="12700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6" name="Freeform: Shape 66">
                <a:extLst>
                  <a:ext uri="{FF2B5EF4-FFF2-40B4-BE49-F238E27FC236}">
                    <a16:creationId xmlns:a16="http://schemas.microsoft.com/office/drawing/2014/main" xmlns="" id="{5C18364F-015D-4A4C-8134-5F00CB16E180}"/>
                  </a:ext>
                </a:extLst>
              </p:cNvPr>
              <p:cNvSpPr/>
              <p:nvPr/>
            </p:nvSpPr>
            <p:spPr>
              <a:xfrm>
                <a:off x="188167" y="474014"/>
                <a:ext cx="84072" cy="84072"/>
              </a:xfrm>
              <a:custGeom>
                <a:avLst/>
                <a:gdLst>
                  <a:gd name="connsiteX0" fmla="*/ 0 w 84072"/>
                  <a:gd name="connsiteY0" fmla="*/ 0 h 84072"/>
                  <a:gd name="connsiteX1" fmla="*/ 84073 w 84072"/>
                  <a:gd name="connsiteY1" fmla="*/ 0 h 84072"/>
                  <a:gd name="connsiteX2" fmla="*/ 84073 w 84072"/>
                  <a:gd name="connsiteY2" fmla="*/ 84073 h 84072"/>
                  <a:gd name="connsiteX3" fmla="*/ 0 w 84072"/>
                  <a:gd name="connsiteY3" fmla="*/ 84073 h 840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4072" h="84072">
                    <a:moveTo>
                      <a:pt x="0" y="0"/>
                    </a:moveTo>
                    <a:lnTo>
                      <a:pt x="84073" y="0"/>
                    </a:lnTo>
                    <a:lnTo>
                      <a:pt x="84073" y="84073"/>
                    </a:lnTo>
                    <a:lnTo>
                      <a:pt x="0" y="84073"/>
                    </a:lnTo>
                    <a:close/>
                  </a:path>
                </a:pathLst>
              </a:custGeom>
              <a:noFill/>
              <a:ln w="12700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7" name="Freeform: Shape 67">
                <a:extLst>
                  <a:ext uri="{FF2B5EF4-FFF2-40B4-BE49-F238E27FC236}">
                    <a16:creationId xmlns:a16="http://schemas.microsoft.com/office/drawing/2014/main" xmlns="" id="{26A6CC05-45A6-4068-ABBD-13CA311238DF}"/>
                  </a:ext>
                </a:extLst>
              </p:cNvPr>
              <p:cNvSpPr/>
              <p:nvPr/>
            </p:nvSpPr>
            <p:spPr>
              <a:xfrm>
                <a:off x="188167" y="625345"/>
                <a:ext cx="84072" cy="84072"/>
              </a:xfrm>
              <a:custGeom>
                <a:avLst/>
                <a:gdLst>
                  <a:gd name="connsiteX0" fmla="*/ 0 w 84072"/>
                  <a:gd name="connsiteY0" fmla="*/ 0 h 84072"/>
                  <a:gd name="connsiteX1" fmla="*/ 84073 w 84072"/>
                  <a:gd name="connsiteY1" fmla="*/ 0 h 84072"/>
                  <a:gd name="connsiteX2" fmla="*/ 84073 w 84072"/>
                  <a:gd name="connsiteY2" fmla="*/ 84073 h 84072"/>
                  <a:gd name="connsiteX3" fmla="*/ 0 w 84072"/>
                  <a:gd name="connsiteY3" fmla="*/ 84073 h 840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4072" h="84072">
                    <a:moveTo>
                      <a:pt x="0" y="0"/>
                    </a:moveTo>
                    <a:lnTo>
                      <a:pt x="84073" y="0"/>
                    </a:lnTo>
                    <a:lnTo>
                      <a:pt x="84073" y="84073"/>
                    </a:lnTo>
                    <a:lnTo>
                      <a:pt x="0" y="84073"/>
                    </a:lnTo>
                    <a:close/>
                  </a:path>
                </a:pathLst>
              </a:custGeom>
              <a:noFill/>
              <a:ln w="12700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8" name="Freeform: Shape 68">
                <a:extLst>
                  <a:ext uri="{FF2B5EF4-FFF2-40B4-BE49-F238E27FC236}">
                    <a16:creationId xmlns:a16="http://schemas.microsoft.com/office/drawing/2014/main" xmlns="" id="{770CEB6D-D298-42A5-85A2-59ED6025A1B4}"/>
                  </a:ext>
                </a:extLst>
              </p:cNvPr>
              <p:cNvSpPr/>
              <p:nvPr/>
            </p:nvSpPr>
            <p:spPr>
              <a:xfrm>
                <a:off x="642159" y="474014"/>
                <a:ext cx="84072" cy="84072"/>
              </a:xfrm>
              <a:custGeom>
                <a:avLst/>
                <a:gdLst>
                  <a:gd name="connsiteX0" fmla="*/ 0 w 84072"/>
                  <a:gd name="connsiteY0" fmla="*/ 0 h 84072"/>
                  <a:gd name="connsiteX1" fmla="*/ 84073 w 84072"/>
                  <a:gd name="connsiteY1" fmla="*/ 0 h 84072"/>
                  <a:gd name="connsiteX2" fmla="*/ 84073 w 84072"/>
                  <a:gd name="connsiteY2" fmla="*/ 84073 h 84072"/>
                  <a:gd name="connsiteX3" fmla="*/ 0 w 84072"/>
                  <a:gd name="connsiteY3" fmla="*/ 84073 h 840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4072" h="84072">
                    <a:moveTo>
                      <a:pt x="0" y="0"/>
                    </a:moveTo>
                    <a:lnTo>
                      <a:pt x="84073" y="0"/>
                    </a:lnTo>
                    <a:lnTo>
                      <a:pt x="84073" y="84073"/>
                    </a:lnTo>
                    <a:lnTo>
                      <a:pt x="0" y="84073"/>
                    </a:lnTo>
                    <a:close/>
                  </a:path>
                </a:pathLst>
              </a:custGeom>
              <a:noFill/>
              <a:ln w="12700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9" name="Freeform: Shape 69">
                <a:extLst>
                  <a:ext uri="{FF2B5EF4-FFF2-40B4-BE49-F238E27FC236}">
                    <a16:creationId xmlns:a16="http://schemas.microsoft.com/office/drawing/2014/main" xmlns="" id="{C0F9F805-AFB5-4B31-A2A5-93E7B78A713D}"/>
                  </a:ext>
                </a:extLst>
              </p:cNvPr>
              <p:cNvSpPr/>
              <p:nvPr/>
            </p:nvSpPr>
            <p:spPr>
              <a:xfrm>
                <a:off x="642159" y="322683"/>
                <a:ext cx="84072" cy="84072"/>
              </a:xfrm>
              <a:custGeom>
                <a:avLst/>
                <a:gdLst>
                  <a:gd name="connsiteX0" fmla="*/ 0 w 84072"/>
                  <a:gd name="connsiteY0" fmla="*/ 0 h 84072"/>
                  <a:gd name="connsiteX1" fmla="*/ 84073 w 84072"/>
                  <a:gd name="connsiteY1" fmla="*/ 0 h 84072"/>
                  <a:gd name="connsiteX2" fmla="*/ 84073 w 84072"/>
                  <a:gd name="connsiteY2" fmla="*/ 84073 h 84072"/>
                  <a:gd name="connsiteX3" fmla="*/ 0 w 84072"/>
                  <a:gd name="connsiteY3" fmla="*/ 84073 h 840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4072" h="84072">
                    <a:moveTo>
                      <a:pt x="0" y="0"/>
                    </a:moveTo>
                    <a:lnTo>
                      <a:pt x="84073" y="0"/>
                    </a:lnTo>
                    <a:lnTo>
                      <a:pt x="84073" y="84073"/>
                    </a:lnTo>
                    <a:lnTo>
                      <a:pt x="0" y="84073"/>
                    </a:lnTo>
                    <a:close/>
                  </a:path>
                </a:pathLst>
              </a:custGeom>
              <a:noFill/>
              <a:ln w="12700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0" name="Freeform: Shape 70">
                <a:extLst>
                  <a:ext uri="{FF2B5EF4-FFF2-40B4-BE49-F238E27FC236}">
                    <a16:creationId xmlns:a16="http://schemas.microsoft.com/office/drawing/2014/main" xmlns="" id="{C2AC7E77-5F59-4157-B77A-A968141DD118}"/>
                  </a:ext>
                </a:extLst>
              </p:cNvPr>
              <p:cNvSpPr/>
              <p:nvPr/>
            </p:nvSpPr>
            <p:spPr>
              <a:xfrm>
                <a:off x="490829" y="474014"/>
                <a:ext cx="84072" cy="84072"/>
              </a:xfrm>
              <a:custGeom>
                <a:avLst/>
                <a:gdLst>
                  <a:gd name="connsiteX0" fmla="*/ 0 w 84072"/>
                  <a:gd name="connsiteY0" fmla="*/ 0 h 84072"/>
                  <a:gd name="connsiteX1" fmla="*/ 84073 w 84072"/>
                  <a:gd name="connsiteY1" fmla="*/ 0 h 84072"/>
                  <a:gd name="connsiteX2" fmla="*/ 84073 w 84072"/>
                  <a:gd name="connsiteY2" fmla="*/ 84073 h 84072"/>
                  <a:gd name="connsiteX3" fmla="*/ 0 w 84072"/>
                  <a:gd name="connsiteY3" fmla="*/ 84073 h 840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4072" h="84072">
                    <a:moveTo>
                      <a:pt x="0" y="0"/>
                    </a:moveTo>
                    <a:lnTo>
                      <a:pt x="84073" y="0"/>
                    </a:lnTo>
                    <a:lnTo>
                      <a:pt x="84073" y="84073"/>
                    </a:lnTo>
                    <a:lnTo>
                      <a:pt x="0" y="84073"/>
                    </a:lnTo>
                    <a:close/>
                  </a:path>
                </a:pathLst>
              </a:custGeom>
              <a:noFill/>
              <a:ln w="12700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1" name="Freeform: Shape 71">
                <a:extLst>
                  <a:ext uri="{FF2B5EF4-FFF2-40B4-BE49-F238E27FC236}">
                    <a16:creationId xmlns:a16="http://schemas.microsoft.com/office/drawing/2014/main" xmlns="" id="{0584F01A-741E-4262-A6DD-EA8CE6026A78}"/>
                  </a:ext>
                </a:extLst>
              </p:cNvPr>
              <p:cNvSpPr/>
              <p:nvPr/>
            </p:nvSpPr>
            <p:spPr>
              <a:xfrm>
                <a:off x="490829" y="322683"/>
                <a:ext cx="84072" cy="84072"/>
              </a:xfrm>
              <a:custGeom>
                <a:avLst/>
                <a:gdLst>
                  <a:gd name="connsiteX0" fmla="*/ 0 w 84072"/>
                  <a:gd name="connsiteY0" fmla="*/ 0 h 84072"/>
                  <a:gd name="connsiteX1" fmla="*/ 84073 w 84072"/>
                  <a:gd name="connsiteY1" fmla="*/ 0 h 84072"/>
                  <a:gd name="connsiteX2" fmla="*/ 84073 w 84072"/>
                  <a:gd name="connsiteY2" fmla="*/ 84073 h 84072"/>
                  <a:gd name="connsiteX3" fmla="*/ 0 w 84072"/>
                  <a:gd name="connsiteY3" fmla="*/ 84073 h 840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4072" h="84072">
                    <a:moveTo>
                      <a:pt x="0" y="0"/>
                    </a:moveTo>
                    <a:lnTo>
                      <a:pt x="84073" y="0"/>
                    </a:lnTo>
                    <a:lnTo>
                      <a:pt x="84073" y="84073"/>
                    </a:lnTo>
                    <a:lnTo>
                      <a:pt x="0" y="84073"/>
                    </a:lnTo>
                    <a:close/>
                  </a:path>
                </a:pathLst>
              </a:custGeom>
              <a:noFill/>
              <a:ln w="12700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2" name="Freeform: Shape 72">
                <a:extLst>
                  <a:ext uri="{FF2B5EF4-FFF2-40B4-BE49-F238E27FC236}">
                    <a16:creationId xmlns:a16="http://schemas.microsoft.com/office/drawing/2014/main" xmlns="" id="{EB46A646-255A-4C4B-A07C-97220D708161}"/>
                  </a:ext>
                </a:extLst>
              </p:cNvPr>
              <p:cNvSpPr/>
              <p:nvPr/>
            </p:nvSpPr>
            <p:spPr>
              <a:xfrm>
                <a:off x="490829" y="625345"/>
                <a:ext cx="84072" cy="84072"/>
              </a:xfrm>
              <a:custGeom>
                <a:avLst/>
                <a:gdLst>
                  <a:gd name="connsiteX0" fmla="*/ 0 w 84072"/>
                  <a:gd name="connsiteY0" fmla="*/ 0 h 84072"/>
                  <a:gd name="connsiteX1" fmla="*/ 84073 w 84072"/>
                  <a:gd name="connsiteY1" fmla="*/ 0 h 84072"/>
                  <a:gd name="connsiteX2" fmla="*/ 84073 w 84072"/>
                  <a:gd name="connsiteY2" fmla="*/ 84073 h 84072"/>
                  <a:gd name="connsiteX3" fmla="*/ 0 w 84072"/>
                  <a:gd name="connsiteY3" fmla="*/ 84073 h 840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4072" h="84072">
                    <a:moveTo>
                      <a:pt x="0" y="0"/>
                    </a:moveTo>
                    <a:lnTo>
                      <a:pt x="84073" y="0"/>
                    </a:lnTo>
                    <a:lnTo>
                      <a:pt x="84073" y="84073"/>
                    </a:lnTo>
                    <a:lnTo>
                      <a:pt x="0" y="84073"/>
                    </a:lnTo>
                    <a:close/>
                  </a:path>
                </a:pathLst>
              </a:custGeom>
              <a:noFill/>
              <a:ln w="12700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xmlns="" id="{B1DAA47F-5CCE-47FD-B330-0811B67E8BC7}"/>
                </a:ext>
              </a:extLst>
            </p:cNvPr>
            <p:cNvGrpSpPr/>
            <p:nvPr/>
          </p:nvGrpSpPr>
          <p:grpSpPr>
            <a:xfrm>
              <a:off x="120909" y="120909"/>
              <a:ext cx="672581" cy="672581"/>
              <a:chOff x="120909" y="120909"/>
              <a:chExt cx="672581" cy="672581"/>
            </a:xfrm>
          </p:grpSpPr>
          <p:sp>
            <p:nvSpPr>
              <p:cNvPr id="68" name="Freeform: Shape 74">
                <a:extLst>
                  <a:ext uri="{FF2B5EF4-FFF2-40B4-BE49-F238E27FC236}">
                    <a16:creationId xmlns:a16="http://schemas.microsoft.com/office/drawing/2014/main" xmlns="" id="{03CEA0F3-A6B9-4C4A-8DDE-C046E572E670}"/>
                  </a:ext>
                </a:extLst>
              </p:cNvPr>
              <p:cNvSpPr/>
              <p:nvPr/>
            </p:nvSpPr>
            <p:spPr>
              <a:xfrm>
                <a:off x="120909" y="154538"/>
                <a:ext cx="672581" cy="638952"/>
              </a:xfrm>
              <a:custGeom>
                <a:avLst/>
                <a:gdLst>
                  <a:gd name="connsiteX0" fmla="*/ 0 w 672581"/>
                  <a:gd name="connsiteY0" fmla="*/ 0 h 638952"/>
                  <a:gd name="connsiteX1" fmla="*/ 672581 w 672581"/>
                  <a:gd name="connsiteY1" fmla="*/ 0 h 638952"/>
                  <a:gd name="connsiteX2" fmla="*/ 672581 w 672581"/>
                  <a:gd name="connsiteY2" fmla="*/ 638952 h 638952"/>
                  <a:gd name="connsiteX3" fmla="*/ 0 w 672581"/>
                  <a:gd name="connsiteY3" fmla="*/ 638952 h 6389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72581" h="638952">
                    <a:moveTo>
                      <a:pt x="0" y="0"/>
                    </a:moveTo>
                    <a:lnTo>
                      <a:pt x="672581" y="0"/>
                    </a:lnTo>
                    <a:lnTo>
                      <a:pt x="672581" y="638952"/>
                    </a:lnTo>
                    <a:lnTo>
                      <a:pt x="0" y="638952"/>
                    </a:lnTo>
                    <a:close/>
                  </a:path>
                </a:pathLst>
              </a:custGeom>
              <a:noFill/>
              <a:ln w="12700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9" name="Freeform: Shape 75">
                <a:extLst>
                  <a:ext uri="{FF2B5EF4-FFF2-40B4-BE49-F238E27FC236}">
                    <a16:creationId xmlns:a16="http://schemas.microsoft.com/office/drawing/2014/main" xmlns="" id="{A4D6941F-1ED3-44D5-8B5B-66979C746517}"/>
                  </a:ext>
                </a:extLst>
              </p:cNvPr>
              <p:cNvSpPr/>
              <p:nvPr/>
            </p:nvSpPr>
            <p:spPr>
              <a:xfrm>
                <a:off x="120909" y="255425"/>
                <a:ext cx="672581" cy="16814"/>
              </a:xfrm>
              <a:custGeom>
                <a:avLst/>
                <a:gdLst>
                  <a:gd name="connsiteX0" fmla="*/ 0 w 672581"/>
                  <a:gd name="connsiteY0" fmla="*/ 0 h 16814"/>
                  <a:gd name="connsiteX1" fmla="*/ 672581 w 672581"/>
                  <a:gd name="connsiteY1" fmla="*/ 0 h 168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72581" h="16814">
                    <a:moveTo>
                      <a:pt x="0" y="0"/>
                    </a:moveTo>
                    <a:lnTo>
                      <a:pt x="672581" y="0"/>
                    </a:lnTo>
                  </a:path>
                </a:pathLst>
              </a:custGeom>
              <a:ln w="12700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0" name="Freeform: Shape 76">
                <a:extLst>
                  <a:ext uri="{FF2B5EF4-FFF2-40B4-BE49-F238E27FC236}">
                    <a16:creationId xmlns:a16="http://schemas.microsoft.com/office/drawing/2014/main" xmlns="" id="{9E369CCA-B68A-4405-A089-AB4BC9BB35D8}"/>
                  </a:ext>
                </a:extLst>
              </p:cNvPr>
              <p:cNvSpPr/>
              <p:nvPr/>
            </p:nvSpPr>
            <p:spPr>
              <a:xfrm>
                <a:off x="230203" y="120909"/>
                <a:ext cx="16814" cy="92479"/>
              </a:xfrm>
              <a:custGeom>
                <a:avLst/>
                <a:gdLst>
                  <a:gd name="connsiteX0" fmla="*/ 0 w 16814"/>
                  <a:gd name="connsiteY0" fmla="*/ 0 h 92479"/>
                  <a:gd name="connsiteX1" fmla="*/ 0 w 16814"/>
                  <a:gd name="connsiteY1" fmla="*/ 92480 h 924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814" h="92479">
                    <a:moveTo>
                      <a:pt x="0" y="0"/>
                    </a:moveTo>
                    <a:lnTo>
                      <a:pt x="0" y="92480"/>
                    </a:lnTo>
                  </a:path>
                </a:pathLst>
              </a:custGeom>
              <a:ln w="12700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1" name="Freeform: Shape 77">
                <a:extLst>
                  <a:ext uri="{FF2B5EF4-FFF2-40B4-BE49-F238E27FC236}">
                    <a16:creationId xmlns:a16="http://schemas.microsoft.com/office/drawing/2014/main" xmlns="" id="{9655E7D5-6E86-45E4-8D57-49C2B20AD650}"/>
                  </a:ext>
                </a:extLst>
              </p:cNvPr>
              <p:cNvSpPr/>
              <p:nvPr/>
            </p:nvSpPr>
            <p:spPr>
              <a:xfrm>
                <a:off x="381534" y="120909"/>
                <a:ext cx="16814" cy="92479"/>
              </a:xfrm>
              <a:custGeom>
                <a:avLst/>
                <a:gdLst>
                  <a:gd name="connsiteX0" fmla="*/ 0 w 16814"/>
                  <a:gd name="connsiteY0" fmla="*/ 0 h 92479"/>
                  <a:gd name="connsiteX1" fmla="*/ 0 w 16814"/>
                  <a:gd name="connsiteY1" fmla="*/ 92480 h 924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814" h="92479">
                    <a:moveTo>
                      <a:pt x="0" y="0"/>
                    </a:moveTo>
                    <a:lnTo>
                      <a:pt x="0" y="92480"/>
                    </a:lnTo>
                  </a:path>
                </a:pathLst>
              </a:custGeom>
              <a:ln w="12700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2" name="Freeform: Shape 78">
                <a:extLst>
                  <a:ext uri="{FF2B5EF4-FFF2-40B4-BE49-F238E27FC236}">
                    <a16:creationId xmlns:a16="http://schemas.microsoft.com/office/drawing/2014/main" xmlns="" id="{C58E8700-5E24-4C71-A43D-7A9DA22A86A0}"/>
                  </a:ext>
                </a:extLst>
              </p:cNvPr>
              <p:cNvSpPr/>
              <p:nvPr/>
            </p:nvSpPr>
            <p:spPr>
              <a:xfrm>
                <a:off x="532865" y="120909"/>
                <a:ext cx="16814" cy="92479"/>
              </a:xfrm>
              <a:custGeom>
                <a:avLst/>
                <a:gdLst>
                  <a:gd name="connsiteX0" fmla="*/ 0 w 16814"/>
                  <a:gd name="connsiteY0" fmla="*/ 0 h 92479"/>
                  <a:gd name="connsiteX1" fmla="*/ 0 w 16814"/>
                  <a:gd name="connsiteY1" fmla="*/ 92480 h 924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814" h="92479">
                    <a:moveTo>
                      <a:pt x="0" y="0"/>
                    </a:moveTo>
                    <a:lnTo>
                      <a:pt x="0" y="92480"/>
                    </a:lnTo>
                  </a:path>
                </a:pathLst>
              </a:custGeom>
              <a:ln w="12700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3" name="Freeform: Shape 79">
                <a:extLst>
                  <a:ext uri="{FF2B5EF4-FFF2-40B4-BE49-F238E27FC236}">
                    <a16:creationId xmlns:a16="http://schemas.microsoft.com/office/drawing/2014/main" xmlns="" id="{F19C4BD0-30D6-495E-93BA-A4D36EAD1FCC}"/>
                  </a:ext>
                </a:extLst>
              </p:cNvPr>
              <p:cNvSpPr/>
              <p:nvPr/>
            </p:nvSpPr>
            <p:spPr>
              <a:xfrm>
                <a:off x="684196" y="120909"/>
                <a:ext cx="16814" cy="92479"/>
              </a:xfrm>
              <a:custGeom>
                <a:avLst/>
                <a:gdLst>
                  <a:gd name="connsiteX0" fmla="*/ 0 w 16814"/>
                  <a:gd name="connsiteY0" fmla="*/ 0 h 92479"/>
                  <a:gd name="connsiteX1" fmla="*/ 0 w 16814"/>
                  <a:gd name="connsiteY1" fmla="*/ 92480 h 924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814" h="92479">
                    <a:moveTo>
                      <a:pt x="0" y="0"/>
                    </a:moveTo>
                    <a:lnTo>
                      <a:pt x="0" y="92480"/>
                    </a:lnTo>
                  </a:path>
                </a:pathLst>
              </a:custGeom>
              <a:ln w="12700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83" name="Group 82">
            <a:extLst>
              <a:ext uri="{FF2B5EF4-FFF2-40B4-BE49-F238E27FC236}">
                <a16:creationId xmlns:a16="http://schemas.microsoft.com/office/drawing/2014/main" xmlns="" id="{AA404DF3-C20E-40EF-A691-0D0D3E1FC2CA}"/>
              </a:ext>
            </a:extLst>
          </p:cNvPr>
          <p:cNvGrpSpPr/>
          <p:nvPr userDrawn="1"/>
        </p:nvGrpSpPr>
        <p:grpSpPr>
          <a:xfrm>
            <a:off x="385643" y="2791800"/>
            <a:ext cx="481394" cy="487506"/>
            <a:chOff x="126794" y="120710"/>
            <a:chExt cx="664539" cy="672979"/>
          </a:xfrm>
        </p:grpSpPr>
        <p:sp>
          <p:nvSpPr>
            <p:cNvPr id="84" name="Freeform: Shape 3">
              <a:extLst>
                <a:ext uri="{FF2B5EF4-FFF2-40B4-BE49-F238E27FC236}">
                  <a16:creationId xmlns:a16="http://schemas.microsoft.com/office/drawing/2014/main" xmlns="" id="{31705DB3-7473-4B09-A053-B741C0732531}"/>
                </a:ext>
              </a:extLst>
            </p:cNvPr>
            <p:cNvSpPr/>
            <p:nvPr/>
          </p:nvSpPr>
          <p:spPr>
            <a:xfrm>
              <a:off x="707211" y="642269"/>
              <a:ext cx="16824" cy="151420"/>
            </a:xfrm>
            <a:custGeom>
              <a:avLst/>
              <a:gdLst>
                <a:gd name="connsiteX0" fmla="*/ 0 w 16824"/>
                <a:gd name="connsiteY0" fmla="*/ 0 h 151420"/>
                <a:gd name="connsiteX1" fmla="*/ 0 w 16824"/>
                <a:gd name="connsiteY1" fmla="*/ 151420 h 1514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824" h="151420">
                  <a:moveTo>
                    <a:pt x="0" y="0"/>
                  </a:moveTo>
                  <a:lnTo>
                    <a:pt x="0" y="151420"/>
                  </a:lnTo>
                </a:path>
              </a:pathLst>
            </a:custGeom>
            <a:ln w="1270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5" name="Freeform: Shape 4">
              <a:extLst>
                <a:ext uri="{FF2B5EF4-FFF2-40B4-BE49-F238E27FC236}">
                  <a16:creationId xmlns:a16="http://schemas.microsoft.com/office/drawing/2014/main" xmlns="" id="{83C445EC-8323-4165-AF83-13E5A995044B}"/>
                </a:ext>
              </a:extLst>
            </p:cNvPr>
            <p:cNvSpPr/>
            <p:nvPr/>
          </p:nvSpPr>
          <p:spPr>
            <a:xfrm>
              <a:off x="126794" y="558146"/>
              <a:ext cx="664539" cy="235542"/>
            </a:xfrm>
            <a:custGeom>
              <a:avLst/>
              <a:gdLst>
                <a:gd name="connsiteX0" fmla="*/ 361699 w 664539"/>
                <a:gd name="connsiteY0" fmla="*/ 84122 h 235542"/>
                <a:gd name="connsiteX1" fmla="*/ 277577 w 664539"/>
                <a:gd name="connsiteY1" fmla="*/ 134596 h 235542"/>
                <a:gd name="connsiteX2" fmla="*/ 176630 w 664539"/>
                <a:gd name="connsiteY2" fmla="*/ 151420 h 235542"/>
                <a:gd name="connsiteX3" fmla="*/ 645 w 664539"/>
                <a:gd name="connsiteY3" fmla="*/ 162525 h 235542"/>
                <a:gd name="connsiteX4" fmla="*/ 42034 w 664539"/>
                <a:gd name="connsiteY4" fmla="*/ 201894 h 235542"/>
                <a:gd name="connsiteX5" fmla="*/ 176630 w 664539"/>
                <a:gd name="connsiteY5" fmla="*/ 235543 h 235542"/>
                <a:gd name="connsiteX6" fmla="*/ 580417 w 664539"/>
                <a:gd name="connsiteY6" fmla="*/ 185069 h 235542"/>
                <a:gd name="connsiteX7" fmla="*/ 580417 w 664539"/>
                <a:gd name="connsiteY7" fmla="*/ 235543 h 235542"/>
                <a:gd name="connsiteX8" fmla="*/ 664540 w 664539"/>
                <a:gd name="connsiteY8" fmla="*/ 235543 h 235542"/>
                <a:gd name="connsiteX9" fmla="*/ 664540 w 664539"/>
                <a:gd name="connsiteY9" fmla="*/ 0 h 235542"/>
                <a:gd name="connsiteX10" fmla="*/ 580417 w 664539"/>
                <a:gd name="connsiteY10" fmla="*/ 0 h 235542"/>
                <a:gd name="connsiteX11" fmla="*/ 580417 w 664539"/>
                <a:gd name="connsiteY11" fmla="*/ 33649 h 235542"/>
                <a:gd name="connsiteX12" fmla="*/ 513119 w 664539"/>
                <a:gd name="connsiteY12" fmla="*/ 33649 h 235542"/>
                <a:gd name="connsiteX13" fmla="*/ 428997 w 664539"/>
                <a:gd name="connsiteY13" fmla="*/ 0 h 235542"/>
                <a:gd name="connsiteX14" fmla="*/ 263107 w 664539"/>
                <a:gd name="connsiteY14" fmla="*/ 18843 h 235542"/>
                <a:gd name="connsiteX15" fmla="*/ 146850 w 664539"/>
                <a:gd name="connsiteY15" fmla="*/ 44417 h 235542"/>
                <a:gd name="connsiteX16" fmla="*/ 180499 w 664539"/>
                <a:gd name="connsiteY16" fmla="*/ 85805 h 235542"/>
                <a:gd name="connsiteX17" fmla="*/ 361699 w 664539"/>
                <a:gd name="connsiteY17" fmla="*/ 84122 h 235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64539" h="235542">
                  <a:moveTo>
                    <a:pt x="361699" y="84122"/>
                  </a:moveTo>
                  <a:lnTo>
                    <a:pt x="277577" y="134596"/>
                  </a:lnTo>
                  <a:lnTo>
                    <a:pt x="176630" y="151420"/>
                  </a:lnTo>
                  <a:cubicBezTo>
                    <a:pt x="156608" y="151420"/>
                    <a:pt x="11245" y="126857"/>
                    <a:pt x="645" y="162525"/>
                  </a:cubicBezTo>
                  <a:cubicBezTo>
                    <a:pt x="-6084" y="185069"/>
                    <a:pt x="42034" y="201894"/>
                    <a:pt x="42034" y="201894"/>
                  </a:cubicBezTo>
                  <a:lnTo>
                    <a:pt x="176630" y="235543"/>
                  </a:lnTo>
                  <a:lnTo>
                    <a:pt x="580417" y="185069"/>
                  </a:lnTo>
                  <a:lnTo>
                    <a:pt x="580417" y="235543"/>
                  </a:lnTo>
                  <a:lnTo>
                    <a:pt x="664540" y="235543"/>
                  </a:lnTo>
                  <a:lnTo>
                    <a:pt x="664540" y="0"/>
                  </a:lnTo>
                  <a:lnTo>
                    <a:pt x="580417" y="0"/>
                  </a:lnTo>
                  <a:lnTo>
                    <a:pt x="580417" y="33649"/>
                  </a:lnTo>
                  <a:lnTo>
                    <a:pt x="513119" y="33649"/>
                  </a:lnTo>
                  <a:cubicBezTo>
                    <a:pt x="513119" y="33649"/>
                    <a:pt x="461132" y="0"/>
                    <a:pt x="428997" y="0"/>
                  </a:cubicBezTo>
                  <a:cubicBezTo>
                    <a:pt x="428997" y="0"/>
                    <a:pt x="257555" y="16824"/>
                    <a:pt x="263107" y="18843"/>
                  </a:cubicBezTo>
                  <a:lnTo>
                    <a:pt x="146850" y="44417"/>
                  </a:lnTo>
                  <a:cubicBezTo>
                    <a:pt x="150965" y="62721"/>
                    <a:pt x="163420" y="78040"/>
                    <a:pt x="180499" y="85805"/>
                  </a:cubicBezTo>
                  <a:cubicBezTo>
                    <a:pt x="210279" y="100947"/>
                    <a:pt x="361699" y="84122"/>
                    <a:pt x="361699" y="84122"/>
                  </a:cubicBezTo>
                  <a:close/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6" name="Freeform: Shape 5">
              <a:extLst>
                <a:ext uri="{FF2B5EF4-FFF2-40B4-BE49-F238E27FC236}">
                  <a16:creationId xmlns:a16="http://schemas.microsoft.com/office/drawing/2014/main" xmlns="" id="{F5DF709B-8D41-4983-9DD2-4AAF2C914780}"/>
                </a:ext>
              </a:extLst>
            </p:cNvPr>
            <p:cNvSpPr/>
            <p:nvPr/>
          </p:nvSpPr>
          <p:spPr>
            <a:xfrm>
              <a:off x="305779" y="120710"/>
              <a:ext cx="16824" cy="336489"/>
            </a:xfrm>
            <a:custGeom>
              <a:avLst/>
              <a:gdLst>
                <a:gd name="connsiteX0" fmla="*/ 0 w 16824"/>
                <a:gd name="connsiteY0" fmla="*/ 0 h 336489"/>
                <a:gd name="connsiteX1" fmla="*/ 0 w 16824"/>
                <a:gd name="connsiteY1" fmla="*/ 336490 h 3364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824" h="336489">
                  <a:moveTo>
                    <a:pt x="0" y="0"/>
                  </a:moveTo>
                  <a:lnTo>
                    <a:pt x="0" y="336490"/>
                  </a:lnTo>
                </a:path>
              </a:pathLst>
            </a:custGeom>
            <a:ln w="1270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7" name="Freeform: Shape 6">
              <a:extLst>
                <a:ext uri="{FF2B5EF4-FFF2-40B4-BE49-F238E27FC236}">
                  <a16:creationId xmlns:a16="http://schemas.microsoft.com/office/drawing/2014/main" xmlns="" id="{D8C18DBF-EE05-48C0-8FA4-00E93336A997}"/>
                </a:ext>
              </a:extLst>
            </p:cNvPr>
            <p:cNvSpPr/>
            <p:nvPr/>
          </p:nvSpPr>
          <p:spPr>
            <a:xfrm>
              <a:off x="137534" y="288955"/>
              <a:ext cx="336489" cy="16824"/>
            </a:xfrm>
            <a:custGeom>
              <a:avLst/>
              <a:gdLst>
                <a:gd name="connsiteX0" fmla="*/ 336490 w 336489"/>
                <a:gd name="connsiteY0" fmla="*/ 0 h 16824"/>
                <a:gd name="connsiteX1" fmla="*/ 0 w 336489"/>
                <a:gd name="connsiteY1" fmla="*/ 0 h 168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6489" h="16824">
                  <a:moveTo>
                    <a:pt x="336490" y="0"/>
                  </a:moveTo>
                  <a:lnTo>
                    <a:pt x="0" y="0"/>
                  </a:lnTo>
                </a:path>
              </a:pathLst>
            </a:custGeom>
            <a:ln w="1270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88" name="Rectangle 87">
            <a:extLst>
              <a:ext uri="{FF2B5EF4-FFF2-40B4-BE49-F238E27FC236}">
                <a16:creationId xmlns:a16="http://schemas.microsoft.com/office/drawing/2014/main" xmlns="" id="{15721166-5227-43A8-91B9-10258602D727}"/>
              </a:ext>
            </a:extLst>
          </p:cNvPr>
          <p:cNvSpPr/>
          <p:nvPr userDrawn="1"/>
        </p:nvSpPr>
        <p:spPr>
          <a:xfrm>
            <a:off x="271323" y="4975761"/>
            <a:ext cx="2261794" cy="777583"/>
          </a:xfrm>
          <a:prstGeom prst="rect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 err="1">
              <a:ln>
                <a:noFill/>
              </a:ln>
              <a:solidFill>
                <a:srgbClr val="D9D9D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0" name="Oval 89">
            <a:extLst>
              <a:ext uri="{FF2B5EF4-FFF2-40B4-BE49-F238E27FC236}">
                <a16:creationId xmlns:a16="http://schemas.microsoft.com/office/drawing/2014/main" xmlns="" id="{CF4D2B50-B487-4913-96E5-0A1EFDA4076C}"/>
              </a:ext>
            </a:extLst>
          </p:cNvPr>
          <p:cNvSpPr/>
          <p:nvPr userDrawn="1"/>
        </p:nvSpPr>
        <p:spPr>
          <a:xfrm>
            <a:off x="314508" y="5091718"/>
            <a:ext cx="524626" cy="52462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xmlns="" id="{4B69824A-6614-44E3-987F-4C74A489BE8F}"/>
              </a:ext>
            </a:extLst>
          </p:cNvPr>
          <p:cNvSpPr/>
          <p:nvPr userDrawn="1"/>
        </p:nvSpPr>
        <p:spPr>
          <a:xfrm>
            <a:off x="2582096" y="4975761"/>
            <a:ext cx="2261794" cy="777583"/>
          </a:xfrm>
          <a:prstGeom prst="rect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spc="0" normalizeH="0" baseline="0" noProof="0" dirty="0" err="1">
              <a:ln>
                <a:noFill/>
              </a:ln>
              <a:solidFill>
                <a:srgbClr val="D9D9D9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xmlns="" id="{5D141B3F-21BE-4000-B4C7-14166EA46379}"/>
              </a:ext>
            </a:extLst>
          </p:cNvPr>
          <p:cNvSpPr/>
          <p:nvPr userDrawn="1"/>
        </p:nvSpPr>
        <p:spPr>
          <a:xfrm>
            <a:off x="4892870" y="4975761"/>
            <a:ext cx="2278938" cy="777583"/>
          </a:xfrm>
          <a:prstGeom prst="rect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spc="0" normalizeH="0" baseline="0" noProof="0" dirty="0" err="1">
              <a:ln>
                <a:noFill/>
              </a:ln>
              <a:solidFill>
                <a:srgbClr val="D9D9D9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95" name="Oval 94">
            <a:extLst>
              <a:ext uri="{FF2B5EF4-FFF2-40B4-BE49-F238E27FC236}">
                <a16:creationId xmlns:a16="http://schemas.microsoft.com/office/drawing/2014/main" xmlns="" id="{F2737732-EC07-40BC-9C10-83E688D6849F}"/>
              </a:ext>
            </a:extLst>
          </p:cNvPr>
          <p:cNvSpPr/>
          <p:nvPr userDrawn="1"/>
        </p:nvSpPr>
        <p:spPr>
          <a:xfrm>
            <a:off x="2690954" y="5091718"/>
            <a:ext cx="524626" cy="52462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6" name="Oval 95">
            <a:extLst>
              <a:ext uri="{FF2B5EF4-FFF2-40B4-BE49-F238E27FC236}">
                <a16:creationId xmlns:a16="http://schemas.microsoft.com/office/drawing/2014/main" xmlns="" id="{660E6E16-D9EB-4D05-9D51-C96ED5A90824}"/>
              </a:ext>
            </a:extLst>
          </p:cNvPr>
          <p:cNvSpPr/>
          <p:nvPr userDrawn="1"/>
        </p:nvSpPr>
        <p:spPr>
          <a:xfrm>
            <a:off x="4978709" y="5091718"/>
            <a:ext cx="524626" cy="52462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968873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&amp; Red box (1.1)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xmlns="" id="{0DEC4303-B6CF-46B0-B379-C819ED7C21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4" y="187199"/>
            <a:ext cx="8856000" cy="435600"/>
          </a:xfrm>
        </p:spPr>
        <p:txBody>
          <a:bodyPr anchor="ctr">
            <a:no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xmlns="" id="{5EFDDFA6-A169-418F-B10F-BD5F68A5495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1" y="882650"/>
            <a:ext cx="12192000" cy="5462588"/>
          </a:xfrm>
          <a:noFill/>
        </p:spPr>
        <p:txBody>
          <a:bodyPr tIns="756000" anchor="ctr"/>
          <a:lstStyle>
            <a:lvl1pPr algn="ctr">
              <a:defRPr>
                <a:solidFill>
                  <a:srgbClr val="737373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xmlns="" id="{E443FC17-BCDF-43B2-ACE2-E95733DC12BE}"/>
              </a:ext>
            </a:extLst>
          </p:cNvPr>
          <p:cNvSpPr>
            <a:spLocks noGrp="1"/>
          </p:cNvSpPr>
          <p:nvPr>
            <p:ph sz="quarter" idx="27"/>
          </p:nvPr>
        </p:nvSpPr>
        <p:spPr bwMode="gray">
          <a:xfrm>
            <a:off x="263525" y="1125538"/>
            <a:ext cx="3672236" cy="4471200"/>
          </a:xfrm>
          <a:solidFill>
            <a:schemeClr val="tx2"/>
          </a:solidFill>
        </p:spPr>
        <p:txBody>
          <a:bodyPr lIns="324000" tIns="252000" rIns="324000" bIns="46800"/>
          <a:lstStyle>
            <a:lvl1pPr>
              <a:lnSpc>
                <a:spcPct val="100000"/>
              </a:lnSpc>
              <a:spcBef>
                <a:spcPts val="600"/>
              </a:spcBef>
              <a:defRPr sz="2000" b="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2000" b="1"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12884CF0-B8CC-4411-84B7-2834765247B6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C24EC536-6FE3-4540-8D85-74C58F0BF69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ooter Placeholder 5">
            <a:extLst>
              <a:ext uri="{FF2B5EF4-FFF2-40B4-BE49-F238E27FC236}">
                <a16:creationId xmlns:a16="http://schemas.microsoft.com/office/drawing/2014/main" xmlns="" id="{E93AAA9D-96EF-4B45-A168-BE7AE571B3B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16400" y="6433200"/>
            <a:ext cx="6123600" cy="255600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900"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0867406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&amp; White box (1.1)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xmlns="" id="{0DEC4303-B6CF-46B0-B379-C819ED7C21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4" y="187199"/>
            <a:ext cx="8856000" cy="435600"/>
          </a:xfrm>
        </p:spPr>
        <p:txBody>
          <a:bodyPr anchor="ctr">
            <a:no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xmlns="" id="{5EFDDFA6-A169-418F-B10F-BD5F68A5495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1" y="882650"/>
            <a:ext cx="12192000" cy="5462588"/>
          </a:xfrm>
          <a:noFill/>
        </p:spPr>
        <p:txBody>
          <a:bodyPr tIns="756000" anchor="ctr"/>
          <a:lstStyle>
            <a:lvl1pPr algn="ctr">
              <a:defRPr>
                <a:solidFill>
                  <a:srgbClr val="737373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xmlns="" id="{E443FC17-BCDF-43B2-ACE2-E95733DC12BE}"/>
              </a:ext>
            </a:extLst>
          </p:cNvPr>
          <p:cNvSpPr>
            <a:spLocks noGrp="1"/>
          </p:cNvSpPr>
          <p:nvPr>
            <p:ph sz="quarter" idx="27"/>
          </p:nvPr>
        </p:nvSpPr>
        <p:spPr bwMode="gray">
          <a:xfrm>
            <a:off x="263525" y="1125538"/>
            <a:ext cx="3672236" cy="4471200"/>
          </a:xfrm>
          <a:solidFill>
            <a:schemeClr val="bg1"/>
          </a:solidFill>
        </p:spPr>
        <p:txBody>
          <a:bodyPr lIns="324000" tIns="252000" rIns="324000" bIns="46800"/>
          <a:lstStyle>
            <a:lvl1pPr>
              <a:lnSpc>
                <a:spcPct val="100000"/>
              </a:lnSpc>
              <a:spcBef>
                <a:spcPts val="600"/>
              </a:spcBef>
              <a:defRPr sz="20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2000" b="1"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498C4BE0-712D-49E7-8E1B-985C4FD7131F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C24EC536-6FE3-4540-8D85-74C58F0BF69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ooter Placeholder 5">
            <a:extLst>
              <a:ext uri="{FF2B5EF4-FFF2-40B4-BE49-F238E27FC236}">
                <a16:creationId xmlns:a16="http://schemas.microsoft.com/office/drawing/2014/main" xmlns="" id="{83A4D381-A81E-4275-9648-422D63CC261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16400" y="6433200"/>
            <a:ext cx="6123600" cy="255600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900"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6790589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&amp; Red box (1)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3">
            <a:extLst>
              <a:ext uri="{FF2B5EF4-FFF2-40B4-BE49-F238E27FC236}">
                <a16:creationId xmlns:a16="http://schemas.microsoft.com/office/drawing/2014/main" xmlns="" id="{C0EE7B7B-F566-4855-B2E0-D348111D66F4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217200" y="882650"/>
            <a:ext cx="8974800" cy="5462588"/>
          </a:xfrm>
          <a:noFill/>
        </p:spPr>
        <p:txBody>
          <a:bodyPr tIns="756000" anchor="ctr"/>
          <a:lstStyle>
            <a:lvl1pPr algn="ctr">
              <a:defRPr>
                <a:solidFill>
                  <a:srgbClr val="737373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xmlns="" id="{56BC035B-BAB1-4A51-BFA6-CE8077EA9BCB}"/>
              </a:ext>
            </a:extLst>
          </p:cNvPr>
          <p:cNvSpPr>
            <a:spLocks noGrp="1"/>
          </p:cNvSpPr>
          <p:nvPr>
            <p:ph sz="quarter" idx="26"/>
          </p:nvPr>
        </p:nvSpPr>
        <p:spPr bwMode="gray">
          <a:xfrm>
            <a:off x="263525" y="1375200"/>
            <a:ext cx="3672000" cy="2160000"/>
          </a:xfrm>
          <a:solidFill>
            <a:schemeClr val="tx2"/>
          </a:solidFill>
        </p:spPr>
        <p:txBody>
          <a:bodyPr lIns="324000" tIns="252000" rIns="324000" bIns="46800"/>
          <a:lstStyle>
            <a:lvl1pPr>
              <a:lnSpc>
                <a:spcPct val="100000"/>
              </a:lnSpc>
              <a:spcBef>
                <a:spcPts val="600"/>
              </a:spcBef>
              <a:defRPr sz="2000" b="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2000" b="1"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xmlns="" id="{49C6567E-C4DF-4FB0-9D5E-ACC3B7BDA5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4" y="187199"/>
            <a:ext cx="8856000" cy="435600"/>
          </a:xfrm>
        </p:spPr>
        <p:txBody>
          <a:bodyPr anchor="ctr">
            <a:no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ACE7135E-979F-46C5-87ED-9340DADDAF4C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C24EC536-6FE3-4540-8D85-74C58F0BF69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Footer Placeholder 5">
            <a:extLst>
              <a:ext uri="{FF2B5EF4-FFF2-40B4-BE49-F238E27FC236}">
                <a16:creationId xmlns:a16="http://schemas.microsoft.com/office/drawing/2014/main" xmlns="" id="{817AC20B-743F-47C0-98DF-04476E56401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16400" y="6433200"/>
            <a:ext cx="6123600" cy="255600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900"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844374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image" Target="../media/image1.emf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image" Target="../media/image2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4B857974-89ED-4489-9966-AE9110F9D2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4" y="188120"/>
            <a:ext cx="8855276" cy="43400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22617D3C-37DD-4293-9541-6E35F5A6202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63525" y="1376363"/>
            <a:ext cx="11657546" cy="4968874"/>
          </a:xfrm>
          <a:prstGeom prst="rect">
            <a:avLst/>
          </a:prstGeom>
        </p:spPr>
        <p:txBody>
          <a:bodyPr vert="horz" lIns="0" tIns="10800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6</a:t>
            </a:r>
          </a:p>
          <a:p>
            <a:pPr lvl="6"/>
            <a:r>
              <a:rPr lang="en-US" dirty="0"/>
              <a:t>7</a:t>
            </a:r>
          </a:p>
          <a:p>
            <a:pPr lvl="7"/>
            <a:r>
              <a:rPr lang="en-US" dirty="0"/>
              <a:t>8</a:t>
            </a:r>
          </a:p>
          <a:p>
            <a:pPr lvl="8"/>
            <a:r>
              <a:rPr lang="en-US" dirty="0"/>
              <a:t>9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3B8F0C02-0951-4EF2-B93F-6FE591A22B5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65236" y="6470788"/>
            <a:ext cx="302400" cy="30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C24EC536-6FE3-4540-8D85-74C58F0BF697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7" name="Group 7">
            <a:extLst>
              <a:ext uri="{FF2B5EF4-FFF2-40B4-BE49-F238E27FC236}">
                <a16:creationId xmlns:a16="http://schemas.microsoft.com/office/drawing/2014/main" xmlns="" id="{35D3D526-9348-4093-B32C-CDB50CF9A0CD}"/>
              </a:ext>
            </a:extLst>
          </p:cNvPr>
          <p:cNvGrpSpPr/>
          <p:nvPr userDrawn="1"/>
        </p:nvGrpSpPr>
        <p:grpSpPr>
          <a:xfrm>
            <a:off x="-3" y="794367"/>
            <a:ext cx="12192003" cy="88389"/>
            <a:chOff x="-3" y="794367"/>
            <a:chExt cx="12192003" cy="88389"/>
          </a:xfrm>
        </p:grpSpPr>
        <p:sp>
          <p:nvSpPr>
            <p:cNvPr id="9" name="正方形/長方形 11">
              <a:extLst>
                <a:ext uri="{FF2B5EF4-FFF2-40B4-BE49-F238E27FC236}">
                  <a16:creationId xmlns:a16="http://schemas.microsoft.com/office/drawing/2014/main" xmlns="" id="{1E48A1FD-7CC4-46D8-A2E1-6F03829DD1A3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0" y="794367"/>
              <a:ext cx="12192000" cy="88389"/>
            </a:xfrm>
            <a:prstGeom prst="rect">
              <a:avLst/>
            </a:prstGeom>
            <a:solidFill>
              <a:srgbClr val="7373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>
                <a:defRPr/>
              </a:pPr>
              <a:endParaRPr lang="en-US" altLang="ja-JP" sz="4623" dirty="0"/>
            </a:p>
          </p:txBody>
        </p:sp>
        <p:grpSp>
          <p:nvGrpSpPr>
            <p:cNvPr id="4" name="グループ化 62">
              <a:extLst>
                <a:ext uri="{FF2B5EF4-FFF2-40B4-BE49-F238E27FC236}">
                  <a16:creationId xmlns:a16="http://schemas.microsoft.com/office/drawing/2014/main" xmlns="" id="{FB718612-AF5B-443E-AA3F-204A104F4A23}"/>
                </a:ext>
              </a:extLst>
            </p:cNvPr>
            <p:cNvGrpSpPr/>
            <p:nvPr userDrawn="1"/>
          </p:nvGrpSpPr>
          <p:grpSpPr>
            <a:xfrm>
              <a:off x="-3" y="794367"/>
              <a:ext cx="1757857" cy="88389"/>
              <a:chOff x="-3" y="794367"/>
              <a:chExt cx="1757857" cy="88389"/>
            </a:xfrm>
          </p:grpSpPr>
          <p:sp>
            <p:nvSpPr>
              <p:cNvPr id="11" name="正方形/長方形 69">
                <a:extLst>
                  <a:ext uri="{FF2B5EF4-FFF2-40B4-BE49-F238E27FC236}">
                    <a16:creationId xmlns:a16="http://schemas.microsoft.com/office/drawing/2014/main" xmlns="" id="{9A85BBEC-5D35-4BF5-AE00-6E8C440A4B0F}"/>
                  </a:ext>
                </a:extLst>
              </p:cNvPr>
              <p:cNvSpPr/>
              <p:nvPr/>
            </p:nvSpPr>
            <p:spPr bwMode="gray">
              <a:xfrm>
                <a:off x="-3" y="794367"/>
                <a:ext cx="1757857" cy="88389"/>
              </a:xfrm>
              <a:prstGeom prst="rect">
                <a:avLst/>
              </a:prstGeom>
              <a:solidFill>
                <a:srgbClr val="FF0026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en-US" altLang="ja-JP" sz="2400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2" name="正方形/長方形 70">
                <a:extLst>
                  <a:ext uri="{FF2B5EF4-FFF2-40B4-BE49-F238E27FC236}">
                    <a16:creationId xmlns:a16="http://schemas.microsoft.com/office/drawing/2014/main" xmlns="" id="{6E132C21-2E20-429A-B4D8-7A0170B79AFF}"/>
                  </a:ext>
                </a:extLst>
              </p:cNvPr>
              <p:cNvSpPr/>
              <p:nvPr/>
            </p:nvSpPr>
            <p:spPr bwMode="gray">
              <a:xfrm>
                <a:off x="-3" y="794367"/>
                <a:ext cx="879637" cy="88389"/>
              </a:xfrm>
              <a:prstGeom prst="rect">
                <a:avLst/>
              </a:prstGeom>
              <a:solidFill>
                <a:srgbClr val="B3B3B3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en-US" altLang="ja-JP" sz="2400" kern="0" dirty="0">
                  <a:solidFill>
                    <a:sysClr val="windowText" lastClr="000000"/>
                  </a:solidFill>
                </a:endParaRPr>
              </a:p>
            </p:txBody>
          </p:sp>
        </p:grpSp>
      </p:grpSp>
      <p:sp>
        <p:nvSpPr>
          <p:cNvPr id="5" name="text" descr="{&#10; &quot;SkabelonDesign&quot;: {&#10; &quot;textualValue&quot;: &quot;&lt;key1/&gt;&quot;,&#10; &quot;bindingCollection&quot;: {&#10; &quot;key1&quot;: {&quot;SkabelonDesign&quot;:{&quot;type&quot;:&quot;Text&quot;,&quot;binding&quot;:&quot;Copyright&quot;}}&#10; }&#10; }&#10;}">
            <a:extLst>
              <a:ext uri="{FF2B5EF4-FFF2-40B4-BE49-F238E27FC236}">
                <a16:creationId xmlns:a16="http://schemas.microsoft.com/office/drawing/2014/main" xmlns="" id="{A1096FB2-55CC-4081-8128-E81939554EB4}"/>
              </a:ext>
            </a:extLst>
          </p:cNvPr>
          <p:cNvSpPr txBox="1"/>
          <p:nvPr userDrawn="1"/>
        </p:nvSpPr>
        <p:spPr bwMode="gray">
          <a:xfrm>
            <a:off x="777600" y="6543351"/>
            <a:ext cx="2433600" cy="16920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0" i="0" u="none" strike="noStrike" kern="1200" cap="none" spc="-1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© 2023 Hitachi Energy. All rights reserved.</a:t>
            </a:r>
            <a:endParaRPr kumimoji="0" lang="en-GB" sz="900" b="0" i="0" u="none" strike="noStrike" kern="1200" cap="none" spc="-1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xmlns="" id="{FFB88921-A82A-4247-8321-A98985FF905A}"/>
              </a:ext>
            </a:extLst>
          </p:cNvPr>
          <p:cNvPicPr>
            <a:picLocks noChangeAspect="1"/>
          </p:cNvPicPr>
          <p:nvPr userDrawn="1"/>
        </p:nvPicPr>
        <p:blipFill>
          <a:blip r:embed="rId6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39200" y="187200"/>
            <a:ext cx="1590204" cy="45360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xmlns="" id="{A8C0378C-3723-4D68-A0A0-CAF43876A10F}"/>
              </a:ext>
            </a:extLst>
          </p:cNvPr>
          <p:cNvPicPr>
            <a:picLocks noChangeAspect="1"/>
          </p:cNvPicPr>
          <p:nvPr userDrawn="1"/>
        </p:nvPicPr>
        <p:blipFill>
          <a:blip r:embed="rId6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12400" y="6462000"/>
            <a:ext cx="1810800" cy="250551"/>
          </a:xfrm>
          <a:prstGeom prst="rect">
            <a:avLst/>
          </a:prstGeom>
        </p:spPr>
      </p:pic>
      <p:sp>
        <p:nvSpPr>
          <p:cNvPr id="14" name="text" descr="{&#10; &quot;SkabelonDesign&quot;: {&#10; &quot;textualValue&quot;: &quot;&lt;key1/&gt;&quot;,&#10; &quot;bindingCollection&quot;: {&#10; &quot;key1&quot;: {&quot;SkabelonDesign&quot;:{&quot;type&quot;:&quot;Text&quot;,&quot;binding&quot;:&quot;SecurityLevel&quot;}}&#10; }&#10; }&#10;}">
            <a:extLst>
              <a:ext uri="{FF2B5EF4-FFF2-40B4-BE49-F238E27FC236}">
                <a16:creationId xmlns:a16="http://schemas.microsoft.com/office/drawing/2014/main" xmlns="" id="{0A2DA7D7-5D66-4B1B-AC7A-77551DFCC007}"/>
              </a:ext>
            </a:extLst>
          </p:cNvPr>
          <p:cNvSpPr txBox="1"/>
          <p:nvPr userDrawn="1"/>
        </p:nvSpPr>
        <p:spPr bwMode="gray">
          <a:xfrm>
            <a:off x="777600" y="6411600"/>
            <a:ext cx="2433600" cy="16920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l-PL" sz="900" b="0" i="0" u="none" strike="noStrike" kern="1200" cap="none" spc="-1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ublic</a:t>
            </a:r>
            <a:endParaRPr kumimoji="0" lang="en-GB" sz="900" b="0" i="0" u="none" strike="noStrike" kern="1200" cap="none" spc="-1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5" name="Footer Placeholder 5">
            <a:extLst>
              <a:ext uri="{FF2B5EF4-FFF2-40B4-BE49-F238E27FC236}">
                <a16:creationId xmlns:a16="http://schemas.microsoft.com/office/drawing/2014/main" xmlns="" id="{9F002FA9-794F-4A44-8CDC-77FBE41D3AF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16400" y="6433200"/>
            <a:ext cx="6123600" cy="255600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900"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159385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8" r:id="rId2"/>
    <p:sldLayoutId id="2147483747" r:id="rId3"/>
    <p:sldLayoutId id="2147483744" r:id="rId4"/>
    <p:sldLayoutId id="2147483665" r:id="rId5"/>
    <p:sldLayoutId id="2147483663" r:id="rId6"/>
    <p:sldLayoutId id="2147483699" r:id="rId7"/>
    <p:sldLayoutId id="2147483717" r:id="rId8"/>
    <p:sldLayoutId id="2147483711" r:id="rId9"/>
    <p:sldLayoutId id="2147483718" r:id="rId10"/>
    <p:sldLayoutId id="2147483712" r:id="rId11"/>
    <p:sldLayoutId id="2147483719" r:id="rId12"/>
    <p:sldLayoutId id="2147483700" r:id="rId13"/>
    <p:sldLayoutId id="2147483720" r:id="rId14"/>
    <p:sldLayoutId id="2147483721" r:id="rId15"/>
    <p:sldLayoutId id="2147483722" r:id="rId16"/>
    <p:sldLayoutId id="2147483723" r:id="rId17"/>
    <p:sldLayoutId id="2147483724" r:id="rId18"/>
    <p:sldLayoutId id="2147483725" r:id="rId19"/>
    <p:sldLayoutId id="2147483726" r:id="rId20"/>
    <p:sldLayoutId id="2147483695" r:id="rId21"/>
    <p:sldLayoutId id="2147483693" r:id="rId22"/>
    <p:sldLayoutId id="2147483694" r:id="rId23"/>
    <p:sldLayoutId id="2147483690" r:id="rId24"/>
    <p:sldLayoutId id="2147483691" r:id="rId25"/>
    <p:sldLayoutId id="2147483701" r:id="rId26"/>
    <p:sldLayoutId id="2147483702" r:id="rId27"/>
    <p:sldLayoutId id="2147483728" r:id="rId28"/>
    <p:sldLayoutId id="2147483729" r:id="rId29"/>
    <p:sldLayoutId id="2147483686" r:id="rId30"/>
    <p:sldLayoutId id="2147483687" r:id="rId31"/>
    <p:sldLayoutId id="2147483730" r:id="rId32"/>
    <p:sldLayoutId id="2147483671" r:id="rId33"/>
    <p:sldLayoutId id="2147483672" r:id="rId34"/>
    <p:sldLayoutId id="2147483731" r:id="rId35"/>
    <p:sldLayoutId id="2147483696" r:id="rId36"/>
    <p:sldLayoutId id="2147483697" r:id="rId37"/>
    <p:sldLayoutId id="2147483713" r:id="rId38"/>
    <p:sldLayoutId id="2147483708" r:id="rId39"/>
    <p:sldLayoutId id="2147483650" r:id="rId40"/>
    <p:sldLayoutId id="2147483666" r:id="rId41"/>
    <p:sldLayoutId id="2147483732" r:id="rId42"/>
    <p:sldLayoutId id="2147483685" r:id="rId43"/>
    <p:sldLayoutId id="2147483709" r:id="rId44"/>
    <p:sldLayoutId id="2147483733" r:id="rId45"/>
    <p:sldLayoutId id="2147483667" r:id="rId46"/>
    <p:sldLayoutId id="2147483668" r:id="rId47"/>
    <p:sldLayoutId id="2147483734" r:id="rId48"/>
    <p:sldLayoutId id="2147483675" r:id="rId49"/>
    <p:sldLayoutId id="2147483676" r:id="rId50"/>
    <p:sldLayoutId id="2147483681" r:id="rId51"/>
    <p:sldLayoutId id="2147483684" r:id="rId52"/>
    <p:sldLayoutId id="2147483688" r:id="rId53"/>
    <p:sldLayoutId id="2147483689" r:id="rId54"/>
    <p:sldLayoutId id="2147483698" r:id="rId55"/>
    <p:sldLayoutId id="2147483710" r:id="rId56"/>
    <p:sldLayoutId id="2147483704" r:id="rId57"/>
    <p:sldLayoutId id="2147483714" r:id="rId58"/>
    <p:sldLayoutId id="2147483739" r:id="rId59"/>
    <p:sldLayoutId id="2147483715" r:id="rId60"/>
    <p:sldLayoutId id="2147483749" r:id="rId61"/>
    <p:sldLayoutId id="2147483750" r:id="rId62"/>
  </p:sldLayoutIdLst>
  <p:hf hdr="0" dt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24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​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180975" indent="-180975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975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18000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80975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​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80000" indent="-18000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60000" indent="-18000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60000" indent="-18000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12000" algn="l" defTabSz="3175" rtl="0" eaLnBrk="1" latinLnBrk="0" hangingPunct="1">
        <a:defRPr sz="12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3175" algn="l" defTabSz="3175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3175" algn="l" defTabSz="3175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3175" algn="l" defTabSz="3175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3175" algn="l" defTabSz="3175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3175" algn="l" defTabSz="3175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6pPr>
      <a:lvl7pPr marL="3175" algn="l" defTabSz="3175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7pPr>
      <a:lvl8pPr marL="3175" algn="l" defTabSz="3175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8pPr>
      <a:lvl9pPr marL="3175" algn="l" defTabSz="3175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1" pos="166" userDrawn="1">
          <p15:clr>
            <a:srgbClr val="F26B43"/>
          </p15:clr>
        </p15:guide>
        <p15:guide id="2" pos="7514" userDrawn="1">
          <p15:clr>
            <a:srgbClr val="F26B43"/>
          </p15:clr>
        </p15:guide>
        <p15:guide id="3" orient="horz" pos="709" userDrawn="1">
          <p15:clr>
            <a:srgbClr val="F26B43"/>
          </p15:clr>
        </p15:guide>
        <p15:guide id="4" orient="horz" pos="3997" userDrawn="1">
          <p15:clr>
            <a:srgbClr val="F26B43"/>
          </p15:clr>
        </p15:guide>
        <p15:guide id="5" pos="3840" userDrawn="1">
          <p15:clr>
            <a:srgbClr val="F26B43"/>
          </p15:clr>
        </p15:guide>
        <p15:guide id="6" orient="horz" pos="2364" userDrawn="1">
          <p15:clr>
            <a:srgbClr val="F26B43"/>
          </p15:clr>
        </p15:guide>
        <p15:guide id="7" orient="horz" pos="1321" userDrawn="1">
          <p15:clr>
            <a:srgbClr val="A4A3A4"/>
          </p15:clr>
        </p15:guide>
        <p15:guide id="8" orient="horz" pos="867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13" Type="http://schemas.openxmlformats.org/officeDocument/2006/relationships/image" Target="../media/image11.svg"/><Relationship Id="rId3" Type="http://schemas.openxmlformats.org/officeDocument/2006/relationships/tags" Target="../tags/tag1.xml"/><Relationship Id="rId7" Type="http://schemas.openxmlformats.org/officeDocument/2006/relationships/image" Target="../media/image5.svg"/><Relationship Id="rId12" Type="http://schemas.openxmlformats.org/officeDocument/2006/relationships/image" Target="../media/image7.png"/><Relationship Id="rId2" Type="http://schemas.openxmlformats.org/officeDocument/2006/relationships/customXml" Target="../../customXml/item9.xml"/><Relationship Id="rId1" Type="http://schemas.openxmlformats.org/officeDocument/2006/relationships/customXml" Target="../../customXml/item11.xml"/><Relationship Id="rId6" Type="http://schemas.openxmlformats.org/officeDocument/2006/relationships/image" Target="../media/image4.png"/><Relationship Id="rId11" Type="http://schemas.openxmlformats.org/officeDocument/2006/relationships/image" Target="../media/image9.svg"/><Relationship Id="rId5" Type="http://schemas.openxmlformats.org/officeDocument/2006/relationships/image" Target="../media/image28.jpeg"/><Relationship Id="rId10" Type="http://schemas.openxmlformats.org/officeDocument/2006/relationships/image" Target="../media/image6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7.sv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jpeg"/><Relationship Id="rId1" Type="http://schemas.openxmlformats.org/officeDocument/2006/relationships/slideLayout" Target="../slideLayouts/slideLayout62.xml"/><Relationship Id="rId6" Type="http://schemas.openxmlformats.org/officeDocument/2006/relationships/image" Target="../media/image67.svg"/><Relationship Id="rId5" Type="http://schemas.openxmlformats.org/officeDocument/2006/relationships/image" Target="../media/image50.png"/><Relationship Id="rId4" Type="http://schemas.openxmlformats.org/officeDocument/2006/relationships/image" Target="../media/image65.sv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2.xml"/><Relationship Id="rId6" Type="http://schemas.openxmlformats.org/officeDocument/2006/relationships/image" Target="../media/image65.svg"/><Relationship Id="rId5" Type="http://schemas.openxmlformats.org/officeDocument/2006/relationships/image" Target="../media/image49.png"/><Relationship Id="rId4" Type="http://schemas.openxmlformats.org/officeDocument/2006/relationships/image" Target="../media/image69.sv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2.xml"/><Relationship Id="rId5" Type="http://schemas.openxmlformats.org/officeDocument/2006/relationships/image" Target="../media/image65.svg"/><Relationship Id="rId4" Type="http://schemas.openxmlformats.org/officeDocument/2006/relationships/image" Target="../media/image49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7" Type="http://schemas.openxmlformats.org/officeDocument/2006/relationships/image" Target="../media/image67.sv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2.xml"/><Relationship Id="rId6" Type="http://schemas.openxmlformats.org/officeDocument/2006/relationships/image" Target="../media/image50.png"/><Relationship Id="rId5" Type="http://schemas.openxmlformats.org/officeDocument/2006/relationships/image" Target="../media/image53.png"/><Relationship Id="rId4" Type="http://schemas.openxmlformats.org/officeDocument/2006/relationships/image" Target="../media/image65.sv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40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0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55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1.xml"/><Relationship Id="rId2" Type="http://schemas.openxmlformats.org/officeDocument/2006/relationships/customXml" Target="../../customXml/item3.xml"/><Relationship Id="rId1" Type="http://schemas.openxmlformats.org/officeDocument/2006/relationships/customXml" Target="../../customXml/item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4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36.xml"/></Relationships>
</file>

<file path=ppt/slides/_rels/slide4.xml.rels><?xml version="1.0" encoding="UTF-8" standalone="yes"?>
<Relationships xmlns="http://schemas.openxmlformats.org/package/2006/relationships"><Relationship Id="rId13" Type="http://schemas.openxmlformats.org/officeDocument/2006/relationships/tags" Target="../tags/tag13.xml"/><Relationship Id="rId18" Type="http://schemas.openxmlformats.org/officeDocument/2006/relationships/notesSlide" Target="../notesSlides/notesSlide1.xml"/><Relationship Id="rId26" Type="http://schemas.openxmlformats.org/officeDocument/2006/relationships/image" Target="../media/image38.png"/><Relationship Id="rId39" Type="http://schemas.openxmlformats.org/officeDocument/2006/relationships/image" Target="../media/image44.png"/><Relationship Id="rId21" Type="http://schemas.openxmlformats.org/officeDocument/2006/relationships/image" Target="../media/image41.svg"/><Relationship Id="rId34" Type="http://schemas.openxmlformats.org/officeDocument/2006/relationships/image" Target="../media/image41.png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slideLayout" Target="../slideLayouts/slideLayout46.xml"/><Relationship Id="rId25" Type="http://schemas.openxmlformats.org/officeDocument/2006/relationships/image" Target="../media/image45.svg"/><Relationship Id="rId33" Type="http://schemas.openxmlformats.org/officeDocument/2006/relationships/image" Target="../media/image33.emf"/><Relationship Id="rId38" Type="http://schemas.openxmlformats.org/officeDocument/2006/relationships/image" Target="../media/image43.emf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image" Target="../media/image35.png"/><Relationship Id="rId29" Type="http://schemas.openxmlformats.org/officeDocument/2006/relationships/image" Target="../media/image49.svg"/><Relationship Id="rId1" Type="http://schemas.openxmlformats.org/officeDocument/2006/relationships/vmlDrawing" Target="../drawings/vmlDrawing1.v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image" Target="../media/image37.png"/><Relationship Id="rId32" Type="http://schemas.openxmlformats.org/officeDocument/2006/relationships/oleObject" Target="../embeddings/oleObject1.bin"/><Relationship Id="rId37" Type="http://schemas.openxmlformats.org/officeDocument/2006/relationships/image" Target="../media/image56.svg"/><Relationship Id="rId40" Type="http://schemas.openxmlformats.org/officeDocument/2006/relationships/image" Target="../media/image59.svg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image" Target="../media/image43.svg"/><Relationship Id="rId28" Type="http://schemas.openxmlformats.org/officeDocument/2006/relationships/image" Target="../media/image39.png"/><Relationship Id="rId36" Type="http://schemas.openxmlformats.org/officeDocument/2006/relationships/image" Target="../media/image42.png"/><Relationship Id="rId10" Type="http://schemas.openxmlformats.org/officeDocument/2006/relationships/tags" Target="../tags/tag10.xml"/><Relationship Id="rId19" Type="http://schemas.openxmlformats.org/officeDocument/2006/relationships/image" Target="../media/image34.png"/><Relationship Id="rId31" Type="http://schemas.openxmlformats.org/officeDocument/2006/relationships/image" Target="../media/image51.svg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image" Target="../media/image36.png"/><Relationship Id="rId27" Type="http://schemas.openxmlformats.org/officeDocument/2006/relationships/image" Target="../media/image47.svg"/><Relationship Id="rId30" Type="http://schemas.openxmlformats.org/officeDocument/2006/relationships/image" Target="../media/image40.png"/><Relationship Id="rId35" Type="http://schemas.openxmlformats.org/officeDocument/2006/relationships/image" Target="../media/image54.svg"/><Relationship Id="rId8" Type="http://schemas.openxmlformats.org/officeDocument/2006/relationships/tags" Target="../tags/tag8.xml"/><Relationship Id="rId3" Type="http://schemas.openxmlformats.org/officeDocument/2006/relationships/tags" Target="../tags/tag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0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emf"/><Relationship Id="rId3" Type="http://schemas.openxmlformats.org/officeDocument/2006/relationships/tags" Target="../tags/tag18.xml"/><Relationship Id="rId7" Type="http://schemas.openxmlformats.org/officeDocument/2006/relationships/oleObject" Target="../embeddings/oleObject2.bin"/><Relationship Id="rId2" Type="http://schemas.openxmlformats.org/officeDocument/2006/relationships/tags" Target="../tags/tag17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5.png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40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4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4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690FED83-24EB-45EE-B735-C89BCF3094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02-11-2023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xmlns="" id="{4468C090-6629-4B38-99F1-F4F0F9E0323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Challenges and solutions for increased RES integration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xmlns="" id="{5D1D617C-CA3F-436F-BD0F-09666137B94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Multiterminal Experiences</a:t>
            </a:r>
          </a:p>
        </p:txBody>
      </p:sp>
      <p:pic>
        <p:nvPicPr>
          <p:cNvPr id="10" name="Picture Placeholder 9" descr="A picture containing water, outdoor, day, distance&#10;&#10;Description automatically generated">
            <a:extLst>
              <a:ext uri="{FF2B5EF4-FFF2-40B4-BE49-F238E27FC236}">
                <a16:creationId xmlns:a16="http://schemas.microsoft.com/office/drawing/2014/main" xmlns="" id="{24B3C6D8-EEDB-423B-A466-646E1DDEFD45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" b="2"/>
          <a:stretch>
            <a:fillRect/>
          </a:stretch>
        </p:blipFill>
        <p:spPr/>
      </p:pic>
      <p:pic>
        <p:nvPicPr>
          <p:cNvPr id="2" name="Confidential" hidden="1">
            <a:extLst>
              <a:ext uri="{FF2B5EF4-FFF2-40B4-BE49-F238E27FC236}">
                <a16:creationId xmlns:a16="http://schemas.microsoft.com/office/drawing/2014/main" xmlns="" id="{AFBC9EAB-8B38-20E9-C2E6-92D57C56D5BA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277200" y="345600"/>
            <a:ext cx="1671890" cy="266400"/>
          </a:xfrm>
          <a:prstGeom prst="rect">
            <a:avLst/>
          </a:prstGeom>
        </p:spPr>
      </p:pic>
      <p:pic>
        <p:nvPicPr>
          <p:cNvPr id="6" name="Public">
            <a:extLst>
              <a:ext uri="{FF2B5EF4-FFF2-40B4-BE49-F238E27FC236}">
                <a16:creationId xmlns:a16="http://schemas.microsoft.com/office/drawing/2014/main" xmlns="" id="{9FF6631E-2107-F59A-0C45-48F32CA62AA3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275718" y="345600"/>
            <a:ext cx="1671890" cy="266400"/>
          </a:xfrm>
          <a:prstGeom prst="rect">
            <a:avLst/>
          </a:prstGeom>
        </p:spPr>
      </p:pic>
      <p:pic>
        <p:nvPicPr>
          <p:cNvPr id="7" name="Internal" hidden="1">
            <a:extLst>
              <a:ext uri="{FF2B5EF4-FFF2-40B4-BE49-F238E27FC236}">
                <a16:creationId xmlns:a16="http://schemas.microsoft.com/office/drawing/2014/main" xmlns="" id="{52EC7A5A-AF04-E9DF-A4E8-24B5E906523A}"/>
              </a:ext>
            </a:extLst>
          </p:cNvPr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11"/>
              </a:ext>
            </a:extLst>
          </a:blip>
          <a:stretch>
            <a:fillRect/>
          </a:stretch>
        </p:blipFill>
        <p:spPr>
          <a:xfrm>
            <a:off x="275718" y="344152"/>
            <a:ext cx="1671890" cy="266400"/>
          </a:xfrm>
          <a:prstGeom prst="rect">
            <a:avLst/>
          </a:prstGeom>
        </p:spPr>
      </p:pic>
      <p:pic>
        <p:nvPicPr>
          <p:cNvPr id="8" name="Strictly" hidden="1">
            <a:extLst>
              <a:ext uri="{FF2B5EF4-FFF2-40B4-BE49-F238E27FC236}">
                <a16:creationId xmlns:a16="http://schemas.microsoft.com/office/drawing/2014/main" xmlns="" id="{2038A886-BC0B-10FB-4D37-A5BC4671E3C0}"/>
              </a:ext>
            </a:extLst>
          </p:cNvPr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13"/>
              </a:ext>
            </a:extLst>
          </a:blip>
          <a:stretch>
            <a:fillRect/>
          </a:stretch>
        </p:blipFill>
        <p:spPr>
          <a:xfrm>
            <a:off x="261960" y="345600"/>
            <a:ext cx="1671890" cy="266400"/>
          </a:xfrm>
          <a:prstGeom prst="rect">
            <a:avLst/>
          </a:prstGeom>
        </p:spPr>
      </p:pic>
    </p:spTree>
    <p:custDataLst>
      <p:custData r:id="rId1"/>
      <p:custData r:id="rId2"/>
      <p:tags r:id="rId3"/>
    </p:custDataLst>
    <p:extLst>
      <p:ext uri="{BB962C8B-B14F-4D97-AF65-F5344CB8AC3E}">
        <p14:creationId xmlns:p14="http://schemas.microsoft.com/office/powerpoint/2010/main" val="32305933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>
            <a:extLst>
              <a:ext uri="{FF2B5EF4-FFF2-40B4-BE49-F238E27FC236}">
                <a16:creationId xmlns:a16="http://schemas.microsoft.com/office/drawing/2014/main" xmlns="" id="{46CC8A8F-0F9E-4CDD-B546-8FE3E3901C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4" y="188120"/>
            <a:ext cx="8855276" cy="481400"/>
          </a:xfrm>
        </p:spPr>
        <p:txBody>
          <a:bodyPr/>
          <a:lstStyle/>
          <a:p>
            <a:r>
              <a:rPr lang="en-GB" dirty="0">
                <a:ea typeface="ABBvoice" panose="020D0603020503020204" pitchFamily="34" charset="0"/>
                <a:cs typeface="ABBvoice" panose="020D0603020503020204" pitchFamily="34" charset="0"/>
              </a:rPr>
              <a:t>North-East Agra</a:t>
            </a:r>
            <a:endParaRPr lang="en-US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xmlns="" id="{83BFCEF0-920A-4C11-844B-63355226585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r>
              <a:rPr lang="en-US" dirty="0"/>
              <a:t>The world’s first multi-terminal UHVDC transmission link, enabling the transmission of a clean power supply for 90 million people</a:t>
            </a:r>
          </a:p>
        </p:txBody>
      </p:sp>
      <p:pic>
        <p:nvPicPr>
          <p:cNvPr id="12" name="Picture Placeholder 11" descr="Map&#10;&#10;Description automatically generated">
            <a:extLst>
              <a:ext uri="{FF2B5EF4-FFF2-40B4-BE49-F238E27FC236}">
                <a16:creationId xmlns:a16="http://schemas.microsoft.com/office/drawing/2014/main" xmlns="" id="{C07F8E25-4A9D-4D51-A908-BEEDDBA9705A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71808" y="1125538"/>
            <a:ext cx="4755080" cy="4627806"/>
          </a:xfr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AC9AE4A0-9C42-496B-BFF6-CA22DFCE12CE}"/>
              </a:ext>
            </a:extLst>
          </p:cNvPr>
          <p:cNvSpPr/>
          <p:nvPr/>
        </p:nvSpPr>
        <p:spPr>
          <a:xfrm>
            <a:off x="885090" y="5210664"/>
            <a:ext cx="1648028" cy="3077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/>
          <a:p>
            <a:pPr lvl="0">
              <a:defRPr/>
            </a:pPr>
            <a:r>
              <a:rPr lang="en-US" sz="1000" kern="0" dirty="0">
                <a:solidFill>
                  <a:schemeClr val="tx1"/>
                </a:solidFill>
              </a:rPr>
              <a:t>HVDC Classic</a:t>
            </a:r>
            <a:r>
              <a:rPr lang="en-US" sz="1000" kern="0" baseline="30000" dirty="0">
                <a:solidFill>
                  <a:schemeClr val="tx1"/>
                </a:solidFill>
              </a:rPr>
              <a:t> </a:t>
            </a:r>
          </a:p>
          <a:p>
            <a:pPr lvl="0">
              <a:defRPr/>
            </a:pPr>
            <a:r>
              <a:rPr lang="en-US" sz="1000" kern="0" dirty="0">
                <a:solidFill>
                  <a:schemeClr val="tx1"/>
                </a:solidFill>
              </a:rPr>
              <a:t>converter station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8162F10E-210A-42FF-AE9E-5EA96AB3CE0F}"/>
              </a:ext>
            </a:extLst>
          </p:cNvPr>
          <p:cNvSpPr/>
          <p:nvPr/>
        </p:nvSpPr>
        <p:spPr>
          <a:xfrm>
            <a:off x="3251775" y="5199909"/>
            <a:ext cx="1588179" cy="3077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/>
          <a:p>
            <a:pPr marL="0" lvl="1">
              <a:spcAft>
                <a:spcPts val="200"/>
              </a:spcAft>
              <a:defRPr/>
            </a:pPr>
            <a:r>
              <a:rPr lang="en-US" sz="1000" dirty="0">
                <a:solidFill>
                  <a:schemeClr val="tx1"/>
                </a:solidFill>
              </a:rPr>
              <a:t>Multi-terminal UHVDC transmission link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74E21E28-5466-45E8-8F4F-6862C3E0E607}"/>
              </a:ext>
            </a:extLst>
          </p:cNvPr>
          <p:cNvSpPr/>
          <p:nvPr/>
        </p:nvSpPr>
        <p:spPr>
          <a:xfrm>
            <a:off x="5558937" y="5265256"/>
            <a:ext cx="1612871" cy="1538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/>
          <a:p>
            <a:pPr marL="0" marR="0" lvl="3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000" kern="0" dirty="0">
                <a:solidFill>
                  <a:schemeClr val="tx1"/>
                </a:solidFill>
              </a:rPr>
              <a:t>6,000 MW in power capacity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xmlns="" id="{AAC00E28-362E-4879-A0ED-B67CE5C70D09}"/>
              </a:ext>
            </a:extLst>
          </p:cNvPr>
          <p:cNvSpPr/>
          <p:nvPr/>
        </p:nvSpPr>
        <p:spPr>
          <a:xfrm>
            <a:off x="2690954" y="5091718"/>
            <a:ext cx="524626" cy="52462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400" dirty="0" err="1">
              <a:solidFill>
                <a:schemeClr val="tx1"/>
              </a:solidFill>
            </a:endParaRP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xmlns="" id="{8814725D-FE45-4205-8F26-C0AA71A703D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32350" y="5102111"/>
            <a:ext cx="466725" cy="466725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xmlns="" id="{027AEFAA-BB9D-4F97-83E7-E2DE4390D86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5018753" y="5115815"/>
            <a:ext cx="466725" cy="466725"/>
          </a:xfrm>
          <a:prstGeom prst="rect">
            <a:avLst/>
          </a:prstGeom>
        </p:spPr>
      </p:pic>
      <p:grpSp>
        <p:nvGrpSpPr>
          <p:cNvPr id="27" name="Group 26">
            <a:extLst>
              <a:ext uri="{FF2B5EF4-FFF2-40B4-BE49-F238E27FC236}">
                <a16:creationId xmlns:a16="http://schemas.microsoft.com/office/drawing/2014/main" xmlns="" id="{4C9EEE4C-0BC9-41DC-9705-11E40CA2F6BD}"/>
              </a:ext>
            </a:extLst>
          </p:cNvPr>
          <p:cNvGrpSpPr/>
          <p:nvPr/>
        </p:nvGrpSpPr>
        <p:grpSpPr>
          <a:xfrm>
            <a:off x="1086394" y="4365513"/>
            <a:ext cx="4329805" cy="417758"/>
            <a:chOff x="1117050" y="4046341"/>
            <a:chExt cx="4121700" cy="397680"/>
          </a:xfrm>
        </p:grpSpPr>
        <p:sp>
          <p:nvSpPr>
            <p:cNvPr id="28" name="Text Placeholder 8">
              <a:extLst>
                <a:ext uri="{FF2B5EF4-FFF2-40B4-BE49-F238E27FC236}">
                  <a16:creationId xmlns:a16="http://schemas.microsoft.com/office/drawing/2014/main" xmlns="" id="{F9FEE96A-4F00-4C53-B416-EE0085C4FAC8}"/>
                </a:ext>
              </a:extLst>
            </p:cNvPr>
            <p:cNvSpPr txBox="1">
              <a:spLocks/>
            </p:cNvSpPr>
            <p:nvPr/>
          </p:nvSpPr>
          <p:spPr>
            <a:xfrm>
              <a:off x="1117050" y="4046341"/>
              <a:ext cx="3897020" cy="23438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​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80975" indent="-180975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0000" indent="-180975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Char char="​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0000" indent="-180975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60000" indent="-180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​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80000" indent="-180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0000" indent="-180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600" b="1" dirty="0">
                  <a:solidFill>
                    <a:schemeClr val="accent5"/>
                  </a:solidFill>
                </a:rPr>
                <a:t>Year</a:t>
              </a:r>
            </a:p>
          </p:txBody>
        </p:sp>
        <p:sp>
          <p:nvSpPr>
            <p:cNvPr id="29" name="Content Placeholder 7">
              <a:extLst>
                <a:ext uri="{FF2B5EF4-FFF2-40B4-BE49-F238E27FC236}">
                  <a16:creationId xmlns:a16="http://schemas.microsoft.com/office/drawing/2014/main" xmlns="" id="{94B31B5E-3855-45D7-A67F-F7B3A64B58BF}"/>
                </a:ext>
              </a:extLst>
            </p:cNvPr>
            <p:cNvSpPr txBox="1">
              <a:spLocks/>
            </p:cNvSpPr>
            <p:nvPr/>
          </p:nvSpPr>
          <p:spPr>
            <a:xfrm>
              <a:off x="1117056" y="4282880"/>
              <a:ext cx="4121694" cy="16114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​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80975" indent="-180975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0000" indent="-180975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Char char="​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0000" indent="-180975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60000" indent="-180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​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80000" indent="-180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0000" indent="-180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1" indent="0">
                <a:spcBef>
                  <a:spcPts val="0"/>
                </a:spcBef>
                <a:spcAft>
                  <a:spcPts val="200"/>
                </a:spcAft>
                <a:buNone/>
              </a:pPr>
              <a:r>
                <a:rPr lang="en-US" sz="1100" b="0" kern="1200" dirty="0">
                  <a:effectLst/>
                </a:rPr>
                <a:t>2014 - 2016</a:t>
              </a:r>
              <a:endParaRPr lang="en-US" sz="1100" b="0" kern="1200" cap="none" spc="0" dirty="0">
                <a:solidFill>
                  <a:schemeClr val="tx1"/>
                </a:solidFill>
                <a:effectLst/>
                <a:latin typeface="+mn-lt"/>
                <a:ea typeface="ABBvoice" panose="020D0603020503020204" pitchFamily="34" charset="0"/>
                <a:cs typeface="ABBvoice" panose="020D0603020503020204" pitchFamily="34" charset="0"/>
              </a:endParaRPr>
            </a:p>
          </p:txBody>
        </p:sp>
      </p:grpSp>
      <p:sp>
        <p:nvSpPr>
          <p:cNvPr id="30" name="Text Placeholder 8">
            <a:extLst>
              <a:ext uri="{FF2B5EF4-FFF2-40B4-BE49-F238E27FC236}">
                <a16:creationId xmlns:a16="http://schemas.microsoft.com/office/drawing/2014/main" xmlns="" id="{7B0D690D-F2C0-49BA-BD64-CB752DDEFD3B}"/>
              </a:ext>
            </a:extLst>
          </p:cNvPr>
          <p:cNvSpPr txBox="1">
            <a:spLocks/>
          </p:cNvSpPr>
          <p:nvPr/>
        </p:nvSpPr>
        <p:spPr>
          <a:xfrm>
            <a:off x="1086389" y="1216439"/>
            <a:ext cx="432980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>
                <a:solidFill>
                  <a:schemeClr val="tx2"/>
                </a:solidFill>
              </a:rPr>
              <a:t>Customer</a:t>
            </a:r>
          </a:p>
        </p:txBody>
      </p:sp>
      <p:sp>
        <p:nvSpPr>
          <p:cNvPr id="31" name="Content Placeholder 7">
            <a:extLst>
              <a:ext uri="{FF2B5EF4-FFF2-40B4-BE49-F238E27FC236}">
                <a16:creationId xmlns:a16="http://schemas.microsoft.com/office/drawing/2014/main" xmlns="" id="{291309D9-061B-4F4B-8E93-769B7FBF1643}"/>
              </a:ext>
            </a:extLst>
          </p:cNvPr>
          <p:cNvSpPr txBox="1">
            <a:spLocks/>
          </p:cNvSpPr>
          <p:nvPr/>
        </p:nvSpPr>
        <p:spPr>
          <a:xfrm>
            <a:off x="1086394" y="1444567"/>
            <a:ext cx="5878752" cy="1692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owergrid Corporation in India Ltd</a:t>
            </a:r>
          </a:p>
        </p:txBody>
      </p:sp>
      <p:sp>
        <p:nvSpPr>
          <p:cNvPr id="32" name="Text Placeholder 8">
            <a:extLst>
              <a:ext uri="{FF2B5EF4-FFF2-40B4-BE49-F238E27FC236}">
                <a16:creationId xmlns:a16="http://schemas.microsoft.com/office/drawing/2014/main" xmlns="" id="{149C82B9-8873-46B2-9053-ECD0B470BD0C}"/>
              </a:ext>
            </a:extLst>
          </p:cNvPr>
          <p:cNvSpPr txBox="1">
            <a:spLocks/>
          </p:cNvSpPr>
          <p:nvPr/>
        </p:nvSpPr>
        <p:spPr>
          <a:xfrm>
            <a:off x="1086394" y="2698100"/>
            <a:ext cx="4093783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>
                <a:solidFill>
                  <a:schemeClr val="accent6"/>
                </a:solidFill>
              </a:rPr>
              <a:t>Our response</a:t>
            </a:r>
          </a:p>
        </p:txBody>
      </p:sp>
      <p:sp>
        <p:nvSpPr>
          <p:cNvPr id="33" name="Text Placeholder 8">
            <a:extLst>
              <a:ext uri="{FF2B5EF4-FFF2-40B4-BE49-F238E27FC236}">
                <a16:creationId xmlns:a16="http://schemas.microsoft.com/office/drawing/2014/main" xmlns="" id="{2E1ACA7B-1D89-41F8-B91E-77F4B795A4E6}"/>
              </a:ext>
            </a:extLst>
          </p:cNvPr>
          <p:cNvSpPr txBox="1">
            <a:spLocks/>
          </p:cNvSpPr>
          <p:nvPr/>
        </p:nvSpPr>
        <p:spPr>
          <a:xfrm>
            <a:off x="1086393" y="1932210"/>
            <a:ext cx="4093784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>
                <a:solidFill>
                  <a:srgbClr val="2D2D2D"/>
                </a:solidFill>
              </a:rPr>
              <a:t>Customer needs</a:t>
            </a:r>
          </a:p>
        </p:txBody>
      </p:sp>
      <p:sp>
        <p:nvSpPr>
          <p:cNvPr id="34" name="Content Placeholder 7">
            <a:extLst>
              <a:ext uri="{FF2B5EF4-FFF2-40B4-BE49-F238E27FC236}">
                <a16:creationId xmlns:a16="http://schemas.microsoft.com/office/drawing/2014/main" xmlns="" id="{938B0C59-F2A9-4DD7-999D-35A4D546496D}"/>
              </a:ext>
            </a:extLst>
          </p:cNvPr>
          <p:cNvSpPr txBox="1">
            <a:spLocks/>
          </p:cNvSpPr>
          <p:nvPr/>
        </p:nvSpPr>
        <p:spPr>
          <a:xfrm>
            <a:off x="1086397" y="2160339"/>
            <a:ext cx="4329802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171450" lvl="0" indent="-171450">
              <a:spcAft>
                <a:spcPts val="0"/>
              </a:spcAft>
              <a:buFont typeface="Arial" panose="020B0604020202020204" pitchFamily="34" charset="0"/>
              <a:buChar char="‒"/>
              <a:defRPr sz="1100"/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1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ransmission of 6000 MW hydropower from the north-eastern parts of India to the region of Agra – over 1700 km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xmlns="" id="{B4D0D715-10FF-4F48-BA33-4F8F269CBD35}"/>
              </a:ext>
            </a:extLst>
          </p:cNvPr>
          <p:cNvGrpSpPr/>
          <p:nvPr/>
        </p:nvGrpSpPr>
        <p:grpSpPr>
          <a:xfrm>
            <a:off x="1086394" y="3433074"/>
            <a:ext cx="6018493" cy="724902"/>
            <a:chOff x="1117050" y="3439536"/>
            <a:chExt cx="4182605" cy="690060"/>
          </a:xfrm>
        </p:grpSpPr>
        <p:sp>
          <p:nvSpPr>
            <p:cNvPr id="36" name="Text Placeholder 8">
              <a:extLst>
                <a:ext uri="{FF2B5EF4-FFF2-40B4-BE49-F238E27FC236}">
                  <a16:creationId xmlns:a16="http://schemas.microsoft.com/office/drawing/2014/main" xmlns="" id="{D41EFD40-4781-40BD-BFFB-D909E2C21D49}"/>
                </a:ext>
              </a:extLst>
            </p:cNvPr>
            <p:cNvSpPr txBox="1">
              <a:spLocks/>
            </p:cNvSpPr>
            <p:nvPr/>
          </p:nvSpPr>
          <p:spPr>
            <a:xfrm>
              <a:off x="1117050" y="3439536"/>
              <a:ext cx="3897020" cy="23438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​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80975" indent="-180975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0000" indent="-180975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Char char="​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0000" indent="-180975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60000" indent="-180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​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80000" indent="-180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0000" indent="-180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600" b="1" dirty="0">
                  <a:solidFill>
                    <a:schemeClr val="accent5">
                      <a:lumMod val="75000"/>
                    </a:schemeClr>
                  </a:solidFill>
                </a:rPr>
                <a:t>Customer benefits</a:t>
              </a:r>
            </a:p>
          </p:txBody>
        </p:sp>
        <p:sp>
          <p:nvSpPr>
            <p:cNvPr id="37" name="Content Placeholder 7">
              <a:extLst>
                <a:ext uri="{FF2B5EF4-FFF2-40B4-BE49-F238E27FC236}">
                  <a16:creationId xmlns:a16="http://schemas.microsoft.com/office/drawing/2014/main" xmlns="" id="{ADE75239-391B-4433-A978-55DA97B0D94D}"/>
                </a:ext>
              </a:extLst>
            </p:cNvPr>
            <p:cNvSpPr txBox="1">
              <a:spLocks/>
            </p:cNvSpPr>
            <p:nvPr/>
          </p:nvSpPr>
          <p:spPr>
            <a:xfrm>
              <a:off x="1117056" y="3668147"/>
              <a:ext cx="4182599" cy="461449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​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80975" indent="-180975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0000" indent="-180975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Char char="​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0000" indent="-180975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60000" indent="-180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​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80000" indent="-180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0000" indent="-180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en-US" sz="1050" b="0" kern="1200" dirty="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rPr>
                <a:t>Low losses – 6 % 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en-US" sz="1050" b="0" kern="1200" dirty="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rPr>
                <a:t>8000 MW converter capacity, providing redundancy for loss of one converter with retained transfer capacity</a:t>
              </a:r>
            </a:p>
          </p:txBody>
        </p:sp>
      </p:grpSp>
      <p:sp>
        <p:nvSpPr>
          <p:cNvPr id="38" name="TextBox 37">
            <a:extLst>
              <a:ext uri="{FF2B5EF4-FFF2-40B4-BE49-F238E27FC236}">
                <a16:creationId xmlns:a16="http://schemas.microsoft.com/office/drawing/2014/main" xmlns="" id="{31BFED3C-1E09-4B97-A955-041B557836BE}"/>
              </a:ext>
            </a:extLst>
          </p:cNvPr>
          <p:cNvSpPr txBox="1"/>
          <p:nvPr/>
        </p:nvSpPr>
        <p:spPr>
          <a:xfrm>
            <a:off x="996902" y="2910171"/>
            <a:ext cx="6107986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1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urnkey 6000 MW ±800 kV UHVDC system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1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ultiterminal – three converter stations</a:t>
            </a: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xmlns="" id="{B3662DAC-6610-43D0-B00E-EF5A66AA19C4}"/>
              </a:ext>
            </a:extLst>
          </p:cNvPr>
          <p:cNvGrpSpPr/>
          <p:nvPr/>
        </p:nvGrpSpPr>
        <p:grpSpPr>
          <a:xfrm>
            <a:off x="2796852" y="5197617"/>
            <a:ext cx="312832" cy="312830"/>
            <a:chOff x="120710" y="120710"/>
            <a:chExt cx="672979" cy="672979"/>
          </a:xfrm>
        </p:grpSpPr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xmlns="" id="{348F14CF-9EBC-4DA2-9BAA-F71C779E3E91}"/>
                </a:ext>
              </a:extLst>
            </p:cNvPr>
            <p:cNvGrpSpPr/>
            <p:nvPr/>
          </p:nvGrpSpPr>
          <p:grpSpPr>
            <a:xfrm>
              <a:off x="339428" y="238481"/>
              <a:ext cx="235543" cy="311253"/>
              <a:chOff x="339428" y="238481"/>
              <a:chExt cx="235543" cy="311253"/>
            </a:xfrm>
          </p:grpSpPr>
          <p:sp>
            <p:nvSpPr>
              <p:cNvPr id="49" name="Freeform: Shape 333">
                <a:extLst>
                  <a:ext uri="{FF2B5EF4-FFF2-40B4-BE49-F238E27FC236}">
                    <a16:creationId xmlns:a16="http://schemas.microsoft.com/office/drawing/2014/main" xmlns="" id="{C5398D90-228E-45C0-ACFE-2B7C278C76C7}"/>
                  </a:ext>
                </a:extLst>
              </p:cNvPr>
              <p:cNvSpPr/>
              <p:nvPr/>
            </p:nvSpPr>
            <p:spPr>
              <a:xfrm>
                <a:off x="339428" y="238481"/>
                <a:ext cx="168" cy="50473"/>
              </a:xfrm>
              <a:custGeom>
                <a:avLst/>
                <a:gdLst>
                  <a:gd name="connsiteX0" fmla="*/ 168 w 168"/>
                  <a:gd name="connsiteY0" fmla="*/ 0 h 50473"/>
                  <a:gd name="connsiteX1" fmla="*/ 0 w 168"/>
                  <a:gd name="connsiteY1" fmla="*/ 50473 h 504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8" h="50473">
                    <a:moveTo>
                      <a:pt x="168" y="0"/>
                    </a:moveTo>
                    <a:lnTo>
                      <a:pt x="0" y="50473"/>
                    </a:lnTo>
                  </a:path>
                </a:pathLst>
              </a:custGeom>
              <a:ln w="12700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50" name="Freeform: Shape 334">
                <a:extLst>
                  <a:ext uri="{FF2B5EF4-FFF2-40B4-BE49-F238E27FC236}">
                    <a16:creationId xmlns:a16="http://schemas.microsoft.com/office/drawing/2014/main" xmlns="" id="{16F1D07B-85F0-4C16-AC11-AE68BDF993FA}"/>
                  </a:ext>
                </a:extLst>
              </p:cNvPr>
              <p:cNvSpPr/>
              <p:nvPr/>
            </p:nvSpPr>
            <p:spPr>
              <a:xfrm>
                <a:off x="457031" y="238481"/>
                <a:ext cx="168" cy="50473"/>
              </a:xfrm>
              <a:custGeom>
                <a:avLst/>
                <a:gdLst>
                  <a:gd name="connsiteX0" fmla="*/ 168 w 168"/>
                  <a:gd name="connsiteY0" fmla="*/ 0 h 50473"/>
                  <a:gd name="connsiteX1" fmla="*/ 0 w 168"/>
                  <a:gd name="connsiteY1" fmla="*/ 50473 h 504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8" h="50473">
                    <a:moveTo>
                      <a:pt x="168" y="0"/>
                    </a:moveTo>
                    <a:lnTo>
                      <a:pt x="0" y="50473"/>
                    </a:lnTo>
                  </a:path>
                </a:pathLst>
              </a:custGeom>
              <a:ln w="12700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51" name="Freeform: Shape 335">
                <a:extLst>
                  <a:ext uri="{FF2B5EF4-FFF2-40B4-BE49-F238E27FC236}">
                    <a16:creationId xmlns:a16="http://schemas.microsoft.com/office/drawing/2014/main" xmlns="" id="{6FBE95D0-04E1-4D4F-BD5F-5A00B2947415}"/>
                  </a:ext>
                </a:extLst>
              </p:cNvPr>
              <p:cNvSpPr/>
              <p:nvPr/>
            </p:nvSpPr>
            <p:spPr>
              <a:xfrm>
                <a:off x="574803" y="238481"/>
                <a:ext cx="168" cy="50473"/>
              </a:xfrm>
              <a:custGeom>
                <a:avLst/>
                <a:gdLst>
                  <a:gd name="connsiteX0" fmla="*/ 168 w 168"/>
                  <a:gd name="connsiteY0" fmla="*/ 0 h 50473"/>
                  <a:gd name="connsiteX1" fmla="*/ 0 w 168"/>
                  <a:gd name="connsiteY1" fmla="*/ 50473 h 504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8" h="50473">
                    <a:moveTo>
                      <a:pt x="168" y="0"/>
                    </a:moveTo>
                    <a:lnTo>
                      <a:pt x="0" y="50473"/>
                    </a:lnTo>
                  </a:path>
                </a:pathLst>
              </a:custGeom>
              <a:ln w="12700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52" name="Freeform: Shape 336">
                <a:extLst>
                  <a:ext uri="{FF2B5EF4-FFF2-40B4-BE49-F238E27FC236}">
                    <a16:creationId xmlns:a16="http://schemas.microsoft.com/office/drawing/2014/main" xmlns="" id="{8B68460B-07F0-457E-8BCD-E44936011EF5}"/>
                  </a:ext>
                </a:extLst>
              </p:cNvPr>
              <p:cNvSpPr/>
              <p:nvPr/>
            </p:nvSpPr>
            <p:spPr>
              <a:xfrm>
                <a:off x="339428" y="389902"/>
                <a:ext cx="168" cy="159832"/>
              </a:xfrm>
              <a:custGeom>
                <a:avLst/>
                <a:gdLst>
                  <a:gd name="connsiteX0" fmla="*/ 168 w 168"/>
                  <a:gd name="connsiteY0" fmla="*/ 0 h 159832"/>
                  <a:gd name="connsiteX1" fmla="*/ 0 w 168"/>
                  <a:gd name="connsiteY1" fmla="*/ 159833 h 1598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8" h="159832">
                    <a:moveTo>
                      <a:pt x="168" y="0"/>
                    </a:moveTo>
                    <a:lnTo>
                      <a:pt x="0" y="159833"/>
                    </a:lnTo>
                  </a:path>
                </a:pathLst>
              </a:custGeom>
              <a:ln w="12700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53" name="Freeform: Shape 337">
                <a:extLst>
                  <a:ext uri="{FF2B5EF4-FFF2-40B4-BE49-F238E27FC236}">
                    <a16:creationId xmlns:a16="http://schemas.microsoft.com/office/drawing/2014/main" xmlns="" id="{AB571EC6-24AF-48F9-AECB-50B70D1E6F56}"/>
                  </a:ext>
                </a:extLst>
              </p:cNvPr>
              <p:cNvSpPr/>
              <p:nvPr/>
            </p:nvSpPr>
            <p:spPr>
              <a:xfrm>
                <a:off x="457031" y="389902"/>
                <a:ext cx="168" cy="159832"/>
              </a:xfrm>
              <a:custGeom>
                <a:avLst/>
                <a:gdLst>
                  <a:gd name="connsiteX0" fmla="*/ 168 w 168"/>
                  <a:gd name="connsiteY0" fmla="*/ 0 h 159832"/>
                  <a:gd name="connsiteX1" fmla="*/ 0 w 168"/>
                  <a:gd name="connsiteY1" fmla="*/ 159833 h 1598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8" h="159832">
                    <a:moveTo>
                      <a:pt x="168" y="0"/>
                    </a:moveTo>
                    <a:lnTo>
                      <a:pt x="0" y="159833"/>
                    </a:lnTo>
                  </a:path>
                </a:pathLst>
              </a:custGeom>
              <a:ln w="12700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54" name="Freeform: Shape 338">
                <a:extLst>
                  <a:ext uri="{FF2B5EF4-FFF2-40B4-BE49-F238E27FC236}">
                    <a16:creationId xmlns:a16="http://schemas.microsoft.com/office/drawing/2014/main" xmlns="" id="{BA33978D-31D8-46D7-9486-C03969A043CF}"/>
                  </a:ext>
                </a:extLst>
              </p:cNvPr>
              <p:cNvSpPr/>
              <p:nvPr/>
            </p:nvSpPr>
            <p:spPr>
              <a:xfrm>
                <a:off x="574803" y="389902"/>
                <a:ext cx="168" cy="159832"/>
              </a:xfrm>
              <a:custGeom>
                <a:avLst/>
                <a:gdLst>
                  <a:gd name="connsiteX0" fmla="*/ 168 w 168"/>
                  <a:gd name="connsiteY0" fmla="*/ 0 h 159832"/>
                  <a:gd name="connsiteX1" fmla="*/ 0 w 168"/>
                  <a:gd name="connsiteY1" fmla="*/ 159833 h 1598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8" h="159832">
                    <a:moveTo>
                      <a:pt x="168" y="0"/>
                    </a:moveTo>
                    <a:lnTo>
                      <a:pt x="0" y="159833"/>
                    </a:lnTo>
                  </a:path>
                </a:pathLst>
              </a:custGeom>
              <a:ln w="12700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</p:grpSp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xmlns="" id="{250B6343-6D87-4B06-A54E-CCCCAFDA2AA5}"/>
                </a:ext>
              </a:extLst>
            </p:cNvPr>
            <p:cNvGrpSpPr/>
            <p:nvPr/>
          </p:nvGrpSpPr>
          <p:grpSpPr>
            <a:xfrm>
              <a:off x="120710" y="120710"/>
              <a:ext cx="672979" cy="672979"/>
              <a:chOff x="120710" y="120710"/>
              <a:chExt cx="672979" cy="672979"/>
            </a:xfrm>
          </p:grpSpPr>
          <p:sp>
            <p:nvSpPr>
              <p:cNvPr id="42" name="Freeform: Shape 340">
                <a:extLst>
                  <a:ext uri="{FF2B5EF4-FFF2-40B4-BE49-F238E27FC236}">
                    <a16:creationId xmlns:a16="http://schemas.microsoft.com/office/drawing/2014/main" xmlns="" id="{6952CCE9-1466-4B4F-8422-0D654491706E}"/>
                  </a:ext>
                </a:extLst>
              </p:cNvPr>
              <p:cNvSpPr/>
              <p:nvPr/>
            </p:nvSpPr>
            <p:spPr>
              <a:xfrm>
                <a:off x="171183" y="171183"/>
                <a:ext cx="572032" cy="622506"/>
              </a:xfrm>
              <a:custGeom>
                <a:avLst/>
                <a:gdLst>
                  <a:gd name="connsiteX0" fmla="*/ 0 w 572032"/>
                  <a:gd name="connsiteY0" fmla="*/ 622506 h 622506"/>
                  <a:gd name="connsiteX1" fmla="*/ 0 w 572032"/>
                  <a:gd name="connsiteY1" fmla="*/ 0 h 622506"/>
                  <a:gd name="connsiteX2" fmla="*/ 572033 w 572032"/>
                  <a:gd name="connsiteY2" fmla="*/ 0 h 622506"/>
                  <a:gd name="connsiteX3" fmla="*/ 572033 w 572032"/>
                  <a:gd name="connsiteY3" fmla="*/ 622506 h 62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72032" h="622506">
                    <a:moveTo>
                      <a:pt x="0" y="622506"/>
                    </a:moveTo>
                    <a:lnTo>
                      <a:pt x="0" y="0"/>
                    </a:lnTo>
                    <a:lnTo>
                      <a:pt x="572033" y="0"/>
                    </a:lnTo>
                    <a:lnTo>
                      <a:pt x="572033" y="622506"/>
                    </a:lnTo>
                  </a:path>
                </a:pathLst>
              </a:custGeom>
              <a:noFill/>
              <a:ln w="12700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43" name="Freeform: Shape 341">
                <a:extLst>
                  <a:ext uri="{FF2B5EF4-FFF2-40B4-BE49-F238E27FC236}">
                    <a16:creationId xmlns:a16="http://schemas.microsoft.com/office/drawing/2014/main" xmlns="" id="{CBA09936-CF5C-4067-8454-C4547788A0C6}"/>
                  </a:ext>
                </a:extLst>
              </p:cNvPr>
              <p:cNvSpPr/>
              <p:nvPr/>
            </p:nvSpPr>
            <p:spPr>
              <a:xfrm>
                <a:off x="272130" y="171183"/>
                <a:ext cx="370138" cy="67297"/>
              </a:xfrm>
              <a:custGeom>
                <a:avLst/>
                <a:gdLst>
                  <a:gd name="connsiteX0" fmla="*/ 0 w 370138"/>
                  <a:gd name="connsiteY0" fmla="*/ 0 h 67297"/>
                  <a:gd name="connsiteX1" fmla="*/ 0 w 370138"/>
                  <a:gd name="connsiteY1" fmla="*/ 67298 h 67297"/>
                  <a:gd name="connsiteX2" fmla="*/ 370139 w 370138"/>
                  <a:gd name="connsiteY2" fmla="*/ 67298 h 67297"/>
                  <a:gd name="connsiteX3" fmla="*/ 370139 w 370138"/>
                  <a:gd name="connsiteY3" fmla="*/ 0 h 672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70138" h="67297">
                    <a:moveTo>
                      <a:pt x="0" y="0"/>
                    </a:moveTo>
                    <a:lnTo>
                      <a:pt x="0" y="67298"/>
                    </a:lnTo>
                    <a:lnTo>
                      <a:pt x="370139" y="67298"/>
                    </a:lnTo>
                    <a:lnTo>
                      <a:pt x="370139" y="0"/>
                    </a:lnTo>
                  </a:path>
                </a:pathLst>
              </a:custGeom>
              <a:noFill/>
              <a:ln w="12700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44" name="Freeform: Shape 342">
                <a:extLst>
                  <a:ext uri="{FF2B5EF4-FFF2-40B4-BE49-F238E27FC236}">
                    <a16:creationId xmlns:a16="http://schemas.microsoft.com/office/drawing/2014/main" xmlns="" id="{FF10321E-93C0-43C5-944F-FCC4501648DB}"/>
                  </a:ext>
                </a:extLst>
              </p:cNvPr>
              <p:cNvSpPr/>
              <p:nvPr/>
            </p:nvSpPr>
            <p:spPr>
              <a:xfrm>
                <a:off x="288955" y="608620"/>
                <a:ext cx="336489" cy="185069"/>
              </a:xfrm>
              <a:custGeom>
                <a:avLst/>
                <a:gdLst>
                  <a:gd name="connsiteX0" fmla="*/ 0 w 336489"/>
                  <a:gd name="connsiteY0" fmla="*/ 0 h 185069"/>
                  <a:gd name="connsiteX1" fmla="*/ 336490 w 336489"/>
                  <a:gd name="connsiteY1" fmla="*/ 0 h 185069"/>
                  <a:gd name="connsiteX2" fmla="*/ 336490 w 336489"/>
                  <a:gd name="connsiteY2" fmla="*/ 185069 h 185069"/>
                  <a:gd name="connsiteX3" fmla="*/ 0 w 336489"/>
                  <a:gd name="connsiteY3" fmla="*/ 185069 h 1850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6489" h="185069">
                    <a:moveTo>
                      <a:pt x="0" y="0"/>
                    </a:moveTo>
                    <a:lnTo>
                      <a:pt x="336490" y="0"/>
                    </a:lnTo>
                    <a:lnTo>
                      <a:pt x="336490" y="185069"/>
                    </a:lnTo>
                    <a:lnTo>
                      <a:pt x="0" y="185069"/>
                    </a:lnTo>
                    <a:close/>
                  </a:path>
                </a:pathLst>
              </a:custGeom>
              <a:noFill/>
              <a:ln w="12700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45" name="Freeform: Shape 343">
                <a:extLst>
                  <a:ext uri="{FF2B5EF4-FFF2-40B4-BE49-F238E27FC236}">
                    <a16:creationId xmlns:a16="http://schemas.microsoft.com/office/drawing/2014/main" xmlns="" id="{CE2A53EA-BCD7-44EE-A652-3B7382151508}"/>
                  </a:ext>
                </a:extLst>
              </p:cNvPr>
              <p:cNvSpPr/>
              <p:nvPr/>
            </p:nvSpPr>
            <p:spPr>
              <a:xfrm>
                <a:off x="305779" y="558146"/>
                <a:ext cx="67297" cy="50473"/>
              </a:xfrm>
              <a:custGeom>
                <a:avLst/>
                <a:gdLst>
                  <a:gd name="connsiteX0" fmla="*/ 0 w 67297"/>
                  <a:gd name="connsiteY0" fmla="*/ 0 h 50473"/>
                  <a:gd name="connsiteX1" fmla="*/ 67298 w 67297"/>
                  <a:gd name="connsiteY1" fmla="*/ 0 h 50473"/>
                  <a:gd name="connsiteX2" fmla="*/ 67298 w 67297"/>
                  <a:gd name="connsiteY2" fmla="*/ 50473 h 50473"/>
                  <a:gd name="connsiteX3" fmla="*/ 0 w 67297"/>
                  <a:gd name="connsiteY3" fmla="*/ 50473 h 504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7297" h="50473">
                    <a:moveTo>
                      <a:pt x="0" y="0"/>
                    </a:moveTo>
                    <a:lnTo>
                      <a:pt x="67298" y="0"/>
                    </a:lnTo>
                    <a:lnTo>
                      <a:pt x="67298" y="50473"/>
                    </a:lnTo>
                    <a:lnTo>
                      <a:pt x="0" y="50473"/>
                    </a:lnTo>
                    <a:close/>
                  </a:path>
                </a:pathLst>
              </a:custGeom>
              <a:noFill/>
              <a:ln w="12700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46" name="Freeform: Shape 344">
                <a:extLst>
                  <a:ext uri="{FF2B5EF4-FFF2-40B4-BE49-F238E27FC236}">
                    <a16:creationId xmlns:a16="http://schemas.microsoft.com/office/drawing/2014/main" xmlns="" id="{436E7199-1057-4926-A060-DC8E6E45D0CC}"/>
                  </a:ext>
                </a:extLst>
              </p:cNvPr>
              <p:cNvSpPr/>
              <p:nvPr/>
            </p:nvSpPr>
            <p:spPr>
              <a:xfrm>
                <a:off x="423551" y="558146"/>
                <a:ext cx="67297" cy="50473"/>
              </a:xfrm>
              <a:custGeom>
                <a:avLst/>
                <a:gdLst>
                  <a:gd name="connsiteX0" fmla="*/ 0 w 67297"/>
                  <a:gd name="connsiteY0" fmla="*/ 0 h 50473"/>
                  <a:gd name="connsiteX1" fmla="*/ 67298 w 67297"/>
                  <a:gd name="connsiteY1" fmla="*/ 0 h 50473"/>
                  <a:gd name="connsiteX2" fmla="*/ 67298 w 67297"/>
                  <a:gd name="connsiteY2" fmla="*/ 50473 h 50473"/>
                  <a:gd name="connsiteX3" fmla="*/ 0 w 67297"/>
                  <a:gd name="connsiteY3" fmla="*/ 50473 h 504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7297" h="50473">
                    <a:moveTo>
                      <a:pt x="0" y="0"/>
                    </a:moveTo>
                    <a:lnTo>
                      <a:pt x="67298" y="0"/>
                    </a:lnTo>
                    <a:lnTo>
                      <a:pt x="67298" y="50473"/>
                    </a:lnTo>
                    <a:lnTo>
                      <a:pt x="0" y="50473"/>
                    </a:lnTo>
                    <a:close/>
                  </a:path>
                </a:pathLst>
              </a:custGeom>
              <a:noFill/>
              <a:ln w="12700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47" name="Freeform: Shape 345">
                <a:extLst>
                  <a:ext uri="{FF2B5EF4-FFF2-40B4-BE49-F238E27FC236}">
                    <a16:creationId xmlns:a16="http://schemas.microsoft.com/office/drawing/2014/main" xmlns="" id="{46FDB43A-3E25-4F58-B255-2B2C709CABA2}"/>
                  </a:ext>
                </a:extLst>
              </p:cNvPr>
              <p:cNvSpPr/>
              <p:nvPr/>
            </p:nvSpPr>
            <p:spPr>
              <a:xfrm>
                <a:off x="541322" y="558146"/>
                <a:ext cx="67297" cy="50473"/>
              </a:xfrm>
              <a:custGeom>
                <a:avLst/>
                <a:gdLst>
                  <a:gd name="connsiteX0" fmla="*/ 0 w 67297"/>
                  <a:gd name="connsiteY0" fmla="*/ 0 h 50473"/>
                  <a:gd name="connsiteX1" fmla="*/ 67298 w 67297"/>
                  <a:gd name="connsiteY1" fmla="*/ 0 h 50473"/>
                  <a:gd name="connsiteX2" fmla="*/ 67298 w 67297"/>
                  <a:gd name="connsiteY2" fmla="*/ 50473 h 50473"/>
                  <a:gd name="connsiteX3" fmla="*/ 0 w 67297"/>
                  <a:gd name="connsiteY3" fmla="*/ 50473 h 504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7297" h="50473">
                    <a:moveTo>
                      <a:pt x="0" y="0"/>
                    </a:moveTo>
                    <a:lnTo>
                      <a:pt x="67298" y="0"/>
                    </a:lnTo>
                    <a:lnTo>
                      <a:pt x="67298" y="50473"/>
                    </a:lnTo>
                    <a:lnTo>
                      <a:pt x="0" y="50473"/>
                    </a:lnTo>
                    <a:close/>
                  </a:path>
                </a:pathLst>
              </a:custGeom>
              <a:noFill/>
              <a:ln w="12700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48" name="Freeform: Shape 346">
                <a:extLst>
                  <a:ext uri="{FF2B5EF4-FFF2-40B4-BE49-F238E27FC236}">
                    <a16:creationId xmlns:a16="http://schemas.microsoft.com/office/drawing/2014/main" xmlns="" id="{7995BF08-210F-4A22-98B2-4330EAFD8D33}"/>
                  </a:ext>
                </a:extLst>
              </p:cNvPr>
              <p:cNvSpPr/>
              <p:nvPr/>
            </p:nvSpPr>
            <p:spPr>
              <a:xfrm>
                <a:off x="120710" y="120710"/>
                <a:ext cx="672979" cy="672979"/>
              </a:xfrm>
              <a:custGeom>
                <a:avLst/>
                <a:gdLst>
                  <a:gd name="connsiteX0" fmla="*/ 672980 w 672979"/>
                  <a:gd name="connsiteY0" fmla="*/ 672980 h 672979"/>
                  <a:gd name="connsiteX1" fmla="*/ 0 w 672979"/>
                  <a:gd name="connsiteY1" fmla="*/ 672980 h 672979"/>
                  <a:gd name="connsiteX2" fmla="*/ 0 w 672979"/>
                  <a:gd name="connsiteY2" fmla="*/ 0 h 672979"/>
                  <a:gd name="connsiteX3" fmla="*/ 672980 w 672979"/>
                  <a:gd name="connsiteY3" fmla="*/ 0 h 672979"/>
                  <a:gd name="connsiteX4" fmla="*/ 672980 w 672979"/>
                  <a:gd name="connsiteY4" fmla="*/ 672980 h 6729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72979" h="672979">
                    <a:moveTo>
                      <a:pt x="672980" y="672980"/>
                    </a:moveTo>
                    <a:lnTo>
                      <a:pt x="0" y="672980"/>
                    </a:lnTo>
                    <a:lnTo>
                      <a:pt x="0" y="0"/>
                    </a:lnTo>
                    <a:lnTo>
                      <a:pt x="672980" y="0"/>
                    </a:lnTo>
                    <a:lnTo>
                      <a:pt x="672980" y="672980"/>
                    </a:lnTo>
                  </a:path>
                </a:pathLst>
              </a:custGeom>
              <a:noFill/>
              <a:ln w="12700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</p:grpSp>
      </p:grp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xmlns="" id="{68ABF044-99A4-7B0C-5A34-9C4E1D63405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4EC536-6FE3-4540-8D85-74C58F0BF697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9537014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86A1FB1D-4A5F-4A30-BF4F-DE3C2B9BC5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0" dirty="0" err="1">
                <a:ea typeface="ABBvoice" panose="020D0603020503020204" pitchFamily="34" charset="0"/>
                <a:cs typeface="ABBvoice" panose="020D0603020503020204" pitchFamily="34" charset="0"/>
              </a:rPr>
              <a:t>NordLink</a:t>
            </a:r>
            <a:endParaRPr lang="en-US" b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C1ACADF0-A65E-4D9B-B7D3-D0B8CA74A4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24EC536-6FE3-4540-8D85-74C58F0BF697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4CC9931A-F32A-1A84-3DE2-89940186039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The stable, large-scale integration and exchange of renewable power in the European Union</a:t>
            </a:r>
          </a:p>
        </p:txBody>
      </p:sp>
      <p:pic>
        <p:nvPicPr>
          <p:cNvPr id="166" name="Picture Placeholder 165">
            <a:extLst>
              <a:ext uri="{FF2B5EF4-FFF2-40B4-BE49-F238E27FC236}">
                <a16:creationId xmlns:a16="http://schemas.microsoft.com/office/drawing/2014/main" xmlns="" id="{42DA953D-C262-42C4-953E-80CC06695CC0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rcRect l="13348" r="13348"/>
          <a:stretch/>
        </p:blipFill>
        <p:spPr/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xmlns="" id="{2D2D2E11-CB03-4432-B232-A98942CB50CF}"/>
              </a:ext>
            </a:extLst>
          </p:cNvPr>
          <p:cNvSpPr/>
          <p:nvPr/>
        </p:nvSpPr>
        <p:spPr>
          <a:xfrm>
            <a:off x="981750" y="4198876"/>
            <a:ext cx="6190058" cy="71320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2000" dirty="0" err="1">
              <a:solidFill>
                <a:schemeClr val="tx1"/>
              </a:solidFill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xmlns="" id="{501F6233-77CE-412E-AB5D-256FB9ECCDD8}"/>
              </a:ext>
            </a:extLst>
          </p:cNvPr>
          <p:cNvGrpSpPr/>
          <p:nvPr/>
        </p:nvGrpSpPr>
        <p:grpSpPr>
          <a:xfrm>
            <a:off x="1086394" y="4350413"/>
            <a:ext cx="4329805" cy="417746"/>
            <a:chOff x="1117050" y="4116473"/>
            <a:chExt cx="4121700" cy="397668"/>
          </a:xfrm>
        </p:grpSpPr>
        <p:sp>
          <p:nvSpPr>
            <p:cNvPr id="21" name="Text Placeholder 8">
              <a:extLst>
                <a:ext uri="{FF2B5EF4-FFF2-40B4-BE49-F238E27FC236}">
                  <a16:creationId xmlns:a16="http://schemas.microsoft.com/office/drawing/2014/main" xmlns="" id="{F1FDEFB9-D264-45E0-8BFB-AA15BA62EB5A}"/>
                </a:ext>
              </a:extLst>
            </p:cNvPr>
            <p:cNvSpPr txBox="1">
              <a:spLocks/>
            </p:cNvSpPr>
            <p:nvPr/>
          </p:nvSpPr>
          <p:spPr>
            <a:xfrm>
              <a:off x="1117050" y="4116473"/>
              <a:ext cx="3897020" cy="23438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​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80975" indent="-180975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0000" indent="-180975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Char char="​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0000" indent="-180975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60000" indent="-180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​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80000" indent="-180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0000" indent="-180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600" b="1" dirty="0">
                  <a:solidFill>
                    <a:schemeClr val="accent5"/>
                  </a:solidFill>
                </a:rPr>
                <a:t>Year</a:t>
              </a:r>
            </a:p>
          </p:txBody>
        </p:sp>
        <p:sp>
          <p:nvSpPr>
            <p:cNvPr id="22" name="Content Placeholder 7">
              <a:extLst>
                <a:ext uri="{FF2B5EF4-FFF2-40B4-BE49-F238E27FC236}">
                  <a16:creationId xmlns:a16="http://schemas.microsoft.com/office/drawing/2014/main" xmlns="" id="{E16C7C1F-38A3-4AEA-A1C9-0DDC110DBCD6}"/>
                </a:ext>
              </a:extLst>
            </p:cNvPr>
            <p:cNvSpPr txBox="1">
              <a:spLocks/>
            </p:cNvSpPr>
            <p:nvPr/>
          </p:nvSpPr>
          <p:spPr>
            <a:xfrm>
              <a:off x="1117056" y="4353000"/>
              <a:ext cx="4121694" cy="16114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​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80975" indent="-180975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0000" indent="-180975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Char char="​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0000" indent="-180975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60000" indent="-180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​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80000" indent="-180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0000" indent="-180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1" indent="0">
                <a:spcBef>
                  <a:spcPts val="0"/>
                </a:spcBef>
                <a:spcAft>
                  <a:spcPts val="200"/>
                </a:spcAft>
                <a:buNone/>
              </a:pPr>
              <a:r>
                <a:rPr lang="en-US" sz="1100" dirty="0"/>
                <a:t>2020</a:t>
              </a:r>
            </a:p>
          </p:txBody>
        </p:sp>
      </p:grpSp>
      <p:sp>
        <p:nvSpPr>
          <p:cNvPr id="23" name="Rectangle 22">
            <a:extLst>
              <a:ext uri="{FF2B5EF4-FFF2-40B4-BE49-F238E27FC236}">
                <a16:creationId xmlns:a16="http://schemas.microsoft.com/office/drawing/2014/main" xmlns="" id="{ECD70FD6-985E-4097-8CE9-17E6C2D226CF}"/>
              </a:ext>
            </a:extLst>
          </p:cNvPr>
          <p:cNvSpPr/>
          <p:nvPr/>
        </p:nvSpPr>
        <p:spPr>
          <a:xfrm>
            <a:off x="981750" y="1921513"/>
            <a:ext cx="6190058" cy="71320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2000" dirty="0" err="1">
              <a:solidFill>
                <a:schemeClr val="tx1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xmlns="" id="{7595FECB-85E9-43A1-B1B1-FF8A09D70C18}"/>
              </a:ext>
            </a:extLst>
          </p:cNvPr>
          <p:cNvSpPr/>
          <p:nvPr/>
        </p:nvSpPr>
        <p:spPr>
          <a:xfrm>
            <a:off x="981750" y="2680142"/>
            <a:ext cx="6190058" cy="71320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2000" dirty="0" err="1">
              <a:solidFill>
                <a:schemeClr val="tx1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xmlns="" id="{A3A3D5EC-7061-410C-917B-016865346BFA}"/>
              </a:ext>
            </a:extLst>
          </p:cNvPr>
          <p:cNvSpPr/>
          <p:nvPr/>
        </p:nvSpPr>
        <p:spPr>
          <a:xfrm>
            <a:off x="981750" y="1161406"/>
            <a:ext cx="6190058" cy="71320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2000" dirty="0" err="1">
              <a:solidFill>
                <a:schemeClr val="tx1"/>
              </a:solidFill>
            </a:endParaRP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xmlns="" id="{AC508FDE-11CE-4BB6-B667-D74539931821}"/>
              </a:ext>
            </a:extLst>
          </p:cNvPr>
          <p:cNvSpPr txBox="1">
            <a:spLocks/>
          </p:cNvSpPr>
          <p:nvPr/>
        </p:nvSpPr>
        <p:spPr>
          <a:xfrm>
            <a:off x="1086389" y="1313590"/>
            <a:ext cx="432980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>
                <a:solidFill>
                  <a:schemeClr val="tx2"/>
                </a:solidFill>
              </a:rPr>
              <a:t>Customer</a:t>
            </a:r>
          </a:p>
        </p:txBody>
      </p:sp>
      <p:sp>
        <p:nvSpPr>
          <p:cNvPr id="27" name="Content Placeholder 7">
            <a:extLst>
              <a:ext uri="{FF2B5EF4-FFF2-40B4-BE49-F238E27FC236}">
                <a16:creationId xmlns:a16="http://schemas.microsoft.com/office/drawing/2014/main" xmlns="" id="{3F60E2BA-25FE-497C-A5D0-6D0438F60320}"/>
              </a:ext>
            </a:extLst>
          </p:cNvPr>
          <p:cNvSpPr txBox="1">
            <a:spLocks/>
          </p:cNvSpPr>
          <p:nvPr/>
        </p:nvSpPr>
        <p:spPr>
          <a:xfrm>
            <a:off x="1086394" y="1541718"/>
            <a:ext cx="4329805" cy="1692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000" marR="0" lvl="0" indent="0" algn="l" defTabSz="3175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en-US" sz="1100" b="0" dirty="0"/>
              <a:t>Statnett/</a:t>
            </a:r>
            <a:r>
              <a:rPr lang="en-US" sz="1100" b="0" dirty="0" err="1"/>
              <a:t>TenneT</a:t>
            </a:r>
            <a:r>
              <a:rPr lang="en-US" sz="1100" b="0" dirty="0"/>
              <a:t>, Norway and Germany</a:t>
            </a:r>
            <a:endParaRPr lang="sv-SE" sz="1100" b="0" dirty="0">
              <a:effectLst/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</a:endParaRP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xmlns="" id="{11102D7B-9715-411E-8470-902836EAB813}"/>
              </a:ext>
            </a:extLst>
          </p:cNvPr>
          <p:cNvSpPr txBox="1">
            <a:spLocks/>
          </p:cNvSpPr>
          <p:nvPr/>
        </p:nvSpPr>
        <p:spPr>
          <a:xfrm>
            <a:off x="1086394" y="2724171"/>
            <a:ext cx="4093783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>
                <a:solidFill>
                  <a:schemeClr val="accent6"/>
                </a:solidFill>
              </a:rPr>
              <a:t>Our response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xmlns="" id="{5E65A9E1-7C2E-408F-BB60-93972187B085}"/>
              </a:ext>
            </a:extLst>
          </p:cNvPr>
          <p:cNvSpPr txBox="1">
            <a:spLocks/>
          </p:cNvSpPr>
          <p:nvPr/>
        </p:nvSpPr>
        <p:spPr>
          <a:xfrm>
            <a:off x="1086393" y="1990572"/>
            <a:ext cx="4093784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>
                <a:solidFill>
                  <a:srgbClr val="2D2D2D"/>
                </a:solidFill>
              </a:rPr>
              <a:t>Customer needs</a:t>
            </a:r>
          </a:p>
        </p:txBody>
      </p:sp>
      <p:sp>
        <p:nvSpPr>
          <p:cNvPr id="30" name="Content Placeholder 7">
            <a:extLst>
              <a:ext uri="{FF2B5EF4-FFF2-40B4-BE49-F238E27FC236}">
                <a16:creationId xmlns:a16="http://schemas.microsoft.com/office/drawing/2014/main" xmlns="" id="{189B1CBB-C500-4D97-9BB0-8B875A5B98B6}"/>
              </a:ext>
            </a:extLst>
          </p:cNvPr>
          <p:cNvSpPr txBox="1">
            <a:spLocks/>
          </p:cNvSpPr>
          <p:nvPr/>
        </p:nvSpPr>
        <p:spPr>
          <a:xfrm>
            <a:off x="1086397" y="2218701"/>
            <a:ext cx="4329802" cy="36420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100" dirty="0"/>
              <a:t>Meet EU’s target for CO</a:t>
            </a:r>
            <a:r>
              <a:rPr lang="en-US" sz="1100" baseline="-25000" dirty="0"/>
              <a:t>2</a:t>
            </a:r>
            <a:r>
              <a:rPr lang="en-US" sz="1100" dirty="0"/>
              <a:t> reduction</a:t>
            </a:r>
          </a:p>
          <a:p>
            <a:pPr lvl="1"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100" dirty="0"/>
              <a:t>Security of supply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xmlns="" id="{A37C78F0-D08D-4E06-B4A1-9ABBB5575586}"/>
              </a:ext>
            </a:extLst>
          </p:cNvPr>
          <p:cNvSpPr/>
          <p:nvPr/>
        </p:nvSpPr>
        <p:spPr>
          <a:xfrm>
            <a:off x="981750" y="3437126"/>
            <a:ext cx="6190058" cy="71320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2000" dirty="0" err="1">
              <a:solidFill>
                <a:schemeClr val="tx1"/>
              </a:solidFill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xmlns="" id="{1CC1D881-8F48-42A5-8607-BB7846512B7B}"/>
              </a:ext>
            </a:extLst>
          </p:cNvPr>
          <p:cNvGrpSpPr/>
          <p:nvPr/>
        </p:nvGrpSpPr>
        <p:grpSpPr>
          <a:xfrm>
            <a:off x="1086394" y="3498520"/>
            <a:ext cx="6018493" cy="604355"/>
            <a:chOff x="1117050" y="3394064"/>
            <a:chExt cx="4182605" cy="575308"/>
          </a:xfrm>
        </p:grpSpPr>
        <p:sp>
          <p:nvSpPr>
            <p:cNvPr id="36" name="Text Placeholder 8">
              <a:extLst>
                <a:ext uri="{FF2B5EF4-FFF2-40B4-BE49-F238E27FC236}">
                  <a16:creationId xmlns:a16="http://schemas.microsoft.com/office/drawing/2014/main" xmlns="" id="{4F77F28C-4774-488B-B6A5-FB297B6823CB}"/>
                </a:ext>
              </a:extLst>
            </p:cNvPr>
            <p:cNvSpPr txBox="1">
              <a:spLocks/>
            </p:cNvSpPr>
            <p:nvPr/>
          </p:nvSpPr>
          <p:spPr>
            <a:xfrm>
              <a:off x="1117050" y="3394064"/>
              <a:ext cx="3897020" cy="23438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​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80975" indent="-180975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0000" indent="-180975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Char char="​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0000" indent="-180975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60000" indent="-180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​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80000" indent="-180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0000" indent="-180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600" b="1" dirty="0">
                  <a:solidFill>
                    <a:schemeClr val="accent5">
                      <a:lumMod val="75000"/>
                    </a:schemeClr>
                  </a:solidFill>
                </a:rPr>
                <a:t>Customer benefits</a:t>
              </a:r>
            </a:p>
          </p:txBody>
        </p:sp>
        <p:sp>
          <p:nvSpPr>
            <p:cNvPr id="37" name="Content Placeholder 7">
              <a:extLst>
                <a:ext uri="{FF2B5EF4-FFF2-40B4-BE49-F238E27FC236}">
                  <a16:creationId xmlns:a16="http://schemas.microsoft.com/office/drawing/2014/main" xmlns="" id="{7CFC413E-317A-4CBA-9486-741860AA9D15}"/>
                </a:ext>
              </a:extLst>
            </p:cNvPr>
            <p:cNvSpPr txBox="1">
              <a:spLocks/>
            </p:cNvSpPr>
            <p:nvPr/>
          </p:nvSpPr>
          <p:spPr>
            <a:xfrm>
              <a:off x="1117056" y="3622675"/>
              <a:ext cx="4182599" cy="34669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​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80975" indent="-180975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0000" indent="-180975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Char char="​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0000" indent="-180975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60000" indent="-180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​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80000" indent="-180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0000" indent="-180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1">
                <a:spcBef>
                  <a:spcPts val="0"/>
                </a:spcBef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en-US" sz="1100" dirty="0"/>
                <a:t>To meet fluctuations in power demand by using the other country’s renewable surplus power</a:t>
              </a:r>
            </a:p>
            <a:p>
              <a:pPr lvl="1">
                <a:spcBef>
                  <a:spcPts val="0"/>
                </a:spcBef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en-US" sz="1100" dirty="0"/>
                <a:t>Higher availability</a:t>
              </a:r>
            </a:p>
          </p:txBody>
        </p:sp>
      </p:grpSp>
      <p:sp>
        <p:nvSpPr>
          <p:cNvPr id="41" name="Rectangle 40">
            <a:extLst>
              <a:ext uri="{FF2B5EF4-FFF2-40B4-BE49-F238E27FC236}">
                <a16:creationId xmlns:a16="http://schemas.microsoft.com/office/drawing/2014/main" xmlns="" id="{21AC5E90-7C28-484B-89AE-2378D9A6D994}"/>
              </a:ext>
            </a:extLst>
          </p:cNvPr>
          <p:cNvSpPr/>
          <p:nvPr/>
        </p:nvSpPr>
        <p:spPr>
          <a:xfrm>
            <a:off x="885090" y="5210664"/>
            <a:ext cx="1648028" cy="3077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/>
          <a:p>
            <a:pPr lvl="0">
              <a:defRPr/>
            </a:pPr>
            <a:r>
              <a:rPr lang="en-US" sz="1000" kern="0" dirty="0">
                <a:solidFill>
                  <a:schemeClr val="tx1"/>
                </a:solidFill>
              </a:rPr>
              <a:t>HVDC Light</a:t>
            </a:r>
            <a:r>
              <a:rPr lang="en-US" sz="1000" kern="0" baseline="30000" dirty="0">
                <a:solidFill>
                  <a:schemeClr val="tx1"/>
                </a:solidFill>
              </a:rPr>
              <a:t>® </a:t>
            </a:r>
          </a:p>
          <a:p>
            <a:pPr lvl="0">
              <a:defRPr/>
            </a:pPr>
            <a:r>
              <a:rPr lang="en-US" sz="1000" kern="0" dirty="0">
                <a:solidFill>
                  <a:schemeClr val="tx1"/>
                </a:solidFill>
              </a:rPr>
              <a:t>converter stations</a:t>
            </a:r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xmlns="" id="{C7DE6A5C-3131-48AC-A2E6-4A3F57DB0B35}"/>
              </a:ext>
            </a:extLst>
          </p:cNvPr>
          <p:cNvSpPr/>
          <p:nvPr/>
        </p:nvSpPr>
        <p:spPr>
          <a:xfrm>
            <a:off x="314508" y="5091718"/>
            <a:ext cx="524626" cy="52462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xmlns="" id="{A744A81B-5F81-41EB-BEF4-9D6FB182A16E}"/>
              </a:ext>
            </a:extLst>
          </p:cNvPr>
          <p:cNvSpPr/>
          <p:nvPr/>
        </p:nvSpPr>
        <p:spPr>
          <a:xfrm>
            <a:off x="3251775" y="5109508"/>
            <a:ext cx="1588179" cy="51296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/>
          <a:p>
            <a:pPr marL="180975" lvl="1" indent="-180975"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en-US" sz="1000" dirty="0">
                <a:solidFill>
                  <a:schemeClr val="tx1"/>
                </a:solidFill>
              </a:rPr>
              <a:t>Bipolar ±525 </a:t>
            </a:r>
            <a:r>
              <a:rPr lang="en-US" sz="1000" dirty="0" err="1">
                <a:solidFill>
                  <a:schemeClr val="tx1"/>
                </a:solidFill>
              </a:rPr>
              <a:t>kVdc</a:t>
            </a:r>
            <a:endParaRPr lang="en-US" sz="1000" dirty="0">
              <a:solidFill>
                <a:schemeClr val="tx1"/>
              </a:solidFill>
            </a:endParaRPr>
          </a:p>
          <a:p>
            <a:pPr marL="180975" lvl="1" indent="-180975"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en-US" sz="1000" dirty="0" err="1">
                <a:solidFill>
                  <a:schemeClr val="tx1"/>
                </a:solidFill>
              </a:rPr>
              <a:t>Ertsmyra</a:t>
            </a:r>
            <a:r>
              <a:rPr lang="en-US" sz="1000" dirty="0">
                <a:solidFill>
                  <a:schemeClr val="tx1"/>
                </a:solidFill>
              </a:rPr>
              <a:t>: 400 kV</a:t>
            </a:r>
          </a:p>
          <a:p>
            <a:pPr marL="180975" lvl="1" indent="-180975"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en-US" sz="1000" dirty="0" err="1">
                <a:solidFill>
                  <a:schemeClr val="tx1"/>
                </a:solidFill>
              </a:rPr>
              <a:t>Wilster</a:t>
            </a:r>
            <a:r>
              <a:rPr lang="en-US" sz="1000" dirty="0">
                <a:solidFill>
                  <a:schemeClr val="tx1"/>
                </a:solidFill>
              </a:rPr>
              <a:t>: 380 kV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xmlns="" id="{DD86857E-6C9B-414B-BC59-E9D84B59F4C8}"/>
              </a:ext>
            </a:extLst>
          </p:cNvPr>
          <p:cNvSpPr/>
          <p:nvPr/>
        </p:nvSpPr>
        <p:spPr>
          <a:xfrm>
            <a:off x="5558937" y="5210664"/>
            <a:ext cx="1612871" cy="3077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/>
          <a:p>
            <a:pPr lvl="0">
              <a:defRPr/>
            </a:pPr>
            <a:r>
              <a:rPr lang="en-US" sz="1000" kern="0" dirty="0">
                <a:solidFill>
                  <a:schemeClr val="tx1"/>
                </a:solidFill>
              </a:rPr>
              <a:t>Land and sea DC </a:t>
            </a:r>
            <a:br>
              <a:rPr lang="en-US" sz="1000" kern="0" dirty="0">
                <a:solidFill>
                  <a:schemeClr val="tx1"/>
                </a:solidFill>
              </a:rPr>
            </a:br>
            <a:r>
              <a:rPr lang="en-US" sz="1000" kern="0" dirty="0">
                <a:solidFill>
                  <a:schemeClr val="tx1"/>
                </a:solidFill>
              </a:rPr>
              <a:t>cable system</a:t>
            </a:r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xmlns="" id="{10906B54-8C95-4B1B-B760-5246BDD1C4AC}"/>
              </a:ext>
            </a:extLst>
          </p:cNvPr>
          <p:cNvSpPr/>
          <p:nvPr/>
        </p:nvSpPr>
        <p:spPr>
          <a:xfrm>
            <a:off x="2690954" y="5091718"/>
            <a:ext cx="524626" cy="52462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xmlns="" id="{2A60ACC0-8675-4D39-AE95-08F4E9503C96}"/>
              </a:ext>
            </a:extLst>
          </p:cNvPr>
          <p:cNvSpPr/>
          <p:nvPr/>
        </p:nvSpPr>
        <p:spPr>
          <a:xfrm>
            <a:off x="4978709" y="5091718"/>
            <a:ext cx="524626" cy="52462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400" dirty="0" err="1">
              <a:solidFill>
                <a:schemeClr val="tx1"/>
              </a:solidFill>
            </a:endParaRP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xmlns="" id="{3A9D9836-9D18-4B8A-83C5-455E7588D49F}"/>
              </a:ext>
            </a:extLst>
          </p:cNvPr>
          <p:cNvGrpSpPr/>
          <p:nvPr/>
        </p:nvGrpSpPr>
        <p:grpSpPr>
          <a:xfrm>
            <a:off x="5117465" y="5230474"/>
            <a:ext cx="247115" cy="247115"/>
            <a:chOff x="120710" y="120710"/>
            <a:chExt cx="672979" cy="672979"/>
          </a:xfrm>
        </p:grpSpPr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xmlns="" id="{436DC853-9DF3-48A5-84D3-0732082C3AC5}"/>
                </a:ext>
              </a:extLst>
            </p:cNvPr>
            <p:cNvGrpSpPr/>
            <p:nvPr/>
          </p:nvGrpSpPr>
          <p:grpSpPr>
            <a:xfrm>
              <a:off x="221657" y="330343"/>
              <a:ext cx="504733" cy="371820"/>
              <a:chOff x="221657" y="330343"/>
              <a:chExt cx="504733" cy="371820"/>
            </a:xfrm>
          </p:grpSpPr>
          <p:sp>
            <p:nvSpPr>
              <p:cNvPr id="61" name="Freeform: Shape 128">
                <a:extLst>
                  <a:ext uri="{FF2B5EF4-FFF2-40B4-BE49-F238E27FC236}">
                    <a16:creationId xmlns:a16="http://schemas.microsoft.com/office/drawing/2014/main" xmlns="" id="{8A0FEAC3-DC6B-4204-A9B9-0A89DC9179BC}"/>
                  </a:ext>
                </a:extLst>
              </p:cNvPr>
              <p:cNvSpPr/>
              <p:nvPr/>
            </p:nvSpPr>
            <p:spPr>
              <a:xfrm>
                <a:off x="221657" y="339428"/>
                <a:ext cx="84122" cy="16824"/>
              </a:xfrm>
              <a:custGeom>
                <a:avLst/>
                <a:gdLst>
                  <a:gd name="connsiteX0" fmla="*/ 0 w 84122"/>
                  <a:gd name="connsiteY0" fmla="*/ 0 h 16824"/>
                  <a:gd name="connsiteX1" fmla="*/ 84122 w 84122"/>
                  <a:gd name="connsiteY1" fmla="*/ 0 h 168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4122" h="16824">
                    <a:moveTo>
                      <a:pt x="0" y="0"/>
                    </a:moveTo>
                    <a:lnTo>
                      <a:pt x="84122" y="0"/>
                    </a:lnTo>
                  </a:path>
                </a:pathLst>
              </a:custGeom>
              <a:ln w="12700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62" name="Freeform: Shape 129">
                <a:extLst>
                  <a:ext uri="{FF2B5EF4-FFF2-40B4-BE49-F238E27FC236}">
                    <a16:creationId xmlns:a16="http://schemas.microsoft.com/office/drawing/2014/main" xmlns="" id="{DEDD5CC2-D52B-428D-9CDE-F7139A56B7A6}"/>
                  </a:ext>
                </a:extLst>
              </p:cNvPr>
              <p:cNvSpPr/>
              <p:nvPr/>
            </p:nvSpPr>
            <p:spPr>
              <a:xfrm>
                <a:off x="221657" y="457200"/>
                <a:ext cx="84122" cy="16824"/>
              </a:xfrm>
              <a:custGeom>
                <a:avLst/>
                <a:gdLst>
                  <a:gd name="connsiteX0" fmla="*/ 0 w 84122"/>
                  <a:gd name="connsiteY0" fmla="*/ 0 h 16824"/>
                  <a:gd name="connsiteX1" fmla="*/ 84122 w 84122"/>
                  <a:gd name="connsiteY1" fmla="*/ 0 h 168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4122" h="16824">
                    <a:moveTo>
                      <a:pt x="0" y="0"/>
                    </a:moveTo>
                    <a:lnTo>
                      <a:pt x="84122" y="0"/>
                    </a:lnTo>
                  </a:path>
                </a:pathLst>
              </a:custGeom>
              <a:ln w="12700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63" name="Freeform: Shape 130">
                <a:extLst>
                  <a:ext uri="{FF2B5EF4-FFF2-40B4-BE49-F238E27FC236}">
                    <a16:creationId xmlns:a16="http://schemas.microsoft.com/office/drawing/2014/main" xmlns="" id="{015D1546-1562-455E-BAE2-465D3EBEF65D}"/>
                  </a:ext>
                </a:extLst>
              </p:cNvPr>
              <p:cNvSpPr/>
              <p:nvPr/>
            </p:nvSpPr>
            <p:spPr>
              <a:xfrm>
                <a:off x="221657" y="574971"/>
                <a:ext cx="84122" cy="16824"/>
              </a:xfrm>
              <a:custGeom>
                <a:avLst/>
                <a:gdLst>
                  <a:gd name="connsiteX0" fmla="*/ 0 w 84122"/>
                  <a:gd name="connsiteY0" fmla="*/ 0 h 16824"/>
                  <a:gd name="connsiteX1" fmla="*/ 84122 w 84122"/>
                  <a:gd name="connsiteY1" fmla="*/ 0 h 168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4122" h="16824">
                    <a:moveTo>
                      <a:pt x="0" y="0"/>
                    </a:moveTo>
                    <a:lnTo>
                      <a:pt x="84122" y="0"/>
                    </a:lnTo>
                  </a:path>
                </a:pathLst>
              </a:custGeom>
              <a:ln w="12700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64" name="Freeform: Shape 131">
                <a:extLst>
                  <a:ext uri="{FF2B5EF4-FFF2-40B4-BE49-F238E27FC236}">
                    <a16:creationId xmlns:a16="http://schemas.microsoft.com/office/drawing/2014/main" xmlns="" id="{0D889F98-9D7A-4DF8-A1B9-B04844DE3882}"/>
                  </a:ext>
                </a:extLst>
              </p:cNvPr>
              <p:cNvSpPr/>
              <p:nvPr/>
            </p:nvSpPr>
            <p:spPr>
              <a:xfrm>
                <a:off x="625444" y="616359"/>
                <a:ext cx="100946" cy="85804"/>
              </a:xfrm>
              <a:custGeom>
                <a:avLst/>
                <a:gdLst>
                  <a:gd name="connsiteX0" fmla="*/ 100947 w 100946"/>
                  <a:gd name="connsiteY0" fmla="*/ 0 h 85804"/>
                  <a:gd name="connsiteX1" fmla="*/ 0 w 100946"/>
                  <a:gd name="connsiteY1" fmla="*/ 85805 h 858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0946" h="85804">
                    <a:moveTo>
                      <a:pt x="100947" y="0"/>
                    </a:moveTo>
                    <a:lnTo>
                      <a:pt x="0" y="85805"/>
                    </a:lnTo>
                  </a:path>
                </a:pathLst>
              </a:custGeom>
              <a:ln w="12700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65" name="Freeform: Shape 132">
                <a:extLst>
                  <a:ext uri="{FF2B5EF4-FFF2-40B4-BE49-F238E27FC236}">
                    <a16:creationId xmlns:a16="http://schemas.microsoft.com/office/drawing/2014/main" xmlns="" id="{79E17E0D-D301-4F61-8FA6-7CC26501FABA}"/>
                  </a:ext>
                </a:extLst>
              </p:cNvPr>
              <p:cNvSpPr/>
              <p:nvPr/>
            </p:nvSpPr>
            <p:spPr>
              <a:xfrm>
                <a:off x="625444" y="515412"/>
                <a:ext cx="100946" cy="84122"/>
              </a:xfrm>
              <a:custGeom>
                <a:avLst/>
                <a:gdLst>
                  <a:gd name="connsiteX0" fmla="*/ 100947 w 100946"/>
                  <a:gd name="connsiteY0" fmla="*/ 0 h 84122"/>
                  <a:gd name="connsiteX1" fmla="*/ 0 w 100946"/>
                  <a:gd name="connsiteY1" fmla="*/ 84122 h 841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0946" h="84122">
                    <a:moveTo>
                      <a:pt x="100947" y="0"/>
                    </a:moveTo>
                    <a:lnTo>
                      <a:pt x="0" y="84122"/>
                    </a:lnTo>
                  </a:path>
                </a:pathLst>
              </a:custGeom>
              <a:ln w="12700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66" name="Freeform: Shape 133">
                <a:extLst>
                  <a:ext uri="{FF2B5EF4-FFF2-40B4-BE49-F238E27FC236}">
                    <a16:creationId xmlns:a16="http://schemas.microsoft.com/office/drawing/2014/main" xmlns="" id="{E2A63070-8452-4B4E-97C2-543E055FC8E6}"/>
                  </a:ext>
                </a:extLst>
              </p:cNvPr>
              <p:cNvSpPr/>
              <p:nvPr/>
            </p:nvSpPr>
            <p:spPr>
              <a:xfrm>
                <a:off x="625444" y="431290"/>
                <a:ext cx="100946" cy="85804"/>
              </a:xfrm>
              <a:custGeom>
                <a:avLst/>
                <a:gdLst>
                  <a:gd name="connsiteX0" fmla="*/ 100947 w 100946"/>
                  <a:gd name="connsiteY0" fmla="*/ 0 h 85804"/>
                  <a:gd name="connsiteX1" fmla="*/ 0 w 100946"/>
                  <a:gd name="connsiteY1" fmla="*/ 85805 h 858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0946" h="85804">
                    <a:moveTo>
                      <a:pt x="100947" y="0"/>
                    </a:moveTo>
                    <a:lnTo>
                      <a:pt x="0" y="85805"/>
                    </a:lnTo>
                  </a:path>
                </a:pathLst>
              </a:custGeom>
              <a:ln w="12700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67" name="Freeform: Shape 134">
                <a:extLst>
                  <a:ext uri="{FF2B5EF4-FFF2-40B4-BE49-F238E27FC236}">
                    <a16:creationId xmlns:a16="http://schemas.microsoft.com/office/drawing/2014/main" xmlns="" id="{C1597EA6-5FD9-4C1F-8A06-38475B9F5BB6}"/>
                  </a:ext>
                </a:extLst>
              </p:cNvPr>
              <p:cNvSpPr/>
              <p:nvPr/>
            </p:nvSpPr>
            <p:spPr>
              <a:xfrm>
                <a:off x="625444" y="330343"/>
                <a:ext cx="100946" cy="84122"/>
              </a:xfrm>
              <a:custGeom>
                <a:avLst/>
                <a:gdLst>
                  <a:gd name="connsiteX0" fmla="*/ 100947 w 100946"/>
                  <a:gd name="connsiteY0" fmla="*/ 0 h 84122"/>
                  <a:gd name="connsiteX1" fmla="*/ 0 w 100946"/>
                  <a:gd name="connsiteY1" fmla="*/ 84122 h 841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0946" h="84122">
                    <a:moveTo>
                      <a:pt x="100947" y="0"/>
                    </a:moveTo>
                    <a:lnTo>
                      <a:pt x="0" y="84122"/>
                    </a:lnTo>
                  </a:path>
                </a:pathLst>
              </a:custGeom>
              <a:ln w="12700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68" name="Freeform: Shape 135">
                <a:extLst>
                  <a:ext uri="{FF2B5EF4-FFF2-40B4-BE49-F238E27FC236}">
                    <a16:creationId xmlns:a16="http://schemas.microsoft.com/office/drawing/2014/main" xmlns="" id="{1C54DEC8-0AB8-4791-94F3-7CAAEEDF5601}"/>
                  </a:ext>
                </a:extLst>
              </p:cNvPr>
              <p:cNvSpPr/>
              <p:nvPr/>
            </p:nvSpPr>
            <p:spPr>
              <a:xfrm>
                <a:off x="389902" y="616359"/>
                <a:ext cx="134595" cy="16824"/>
              </a:xfrm>
              <a:custGeom>
                <a:avLst/>
                <a:gdLst>
                  <a:gd name="connsiteX0" fmla="*/ 0 w 134595"/>
                  <a:gd name="connsiteY0" fmla="*/ 0 h 16824"/>
                  <a:gd name="connsiteX1" fmla="*/ 134596 w 134595"/>
                  <a:gd name="connsiteY1" fmla="*/ 0 h 168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4595" h="16824">
                    <a:moveTo>
                      <a:pt x="0" y="0"/>
                    </a:moveTo>
                    <a:lnTo>
                      <a:pt x="134596" y="0"/>
                    </a:lnTo>
                  </a:path>
                </a:pathLst>
              </a:custGeom>
              <a:ln w="12700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</p:grpSp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xmlns="" id="{B4EF8BAB-8F2D-4270-8635-279F772CAF2E}"/>
                </a:ext>
              </a:extLst>
            </p:cNvPr>
            <p:cNvGrpSpPr/>
            <p:nvPr/>
          </p:nvGrpSpPr>
          <p:grpSpPr>
            <a:xfrm>
              <a:off x="120710" y="120710"/>
              <a:ext cx="672979" cy="672979"/>
              <a:chOff x="120710" y="120710"/>
              <a:chExt cx="672979" cy="672979"/>
            </a:xfrm>
          </p:grpSpPr>
          <p:sp>
            <p:nvSpPr>
              <p:cNvPr id="52" name="Freeform: Shape 137">
                <a:extLst>
                  <a:ext uri="{FF2B5EF4-FFF2-40B4-BE49-F238E27FC236}">
                    <a16:creationId xmlns:a16="http://schemas.microsoft.com/office/drawing/2014/main" xmlns="" id="{9B702165-99F2-4588-BAEF-10828D60D4AF}"/>
                  </a:ext>
                </a:extLst>
              </p:cNvPr>
              <p:cNvSpPr/>
              <p:nvPr/>
            </p:nvSpPr>
            <p:spPr>
              <a:xfrm>
                <a:off x="625444" y="128449"/>
                <a:ext cx="100946" cy="665240"/>
              </a:xfrm>
              <a:custGeom>
                <a:avLst/>
                <a:gdLst>
                  <a:gd name="connsiteX0" fmla="*/ 100947 w 100946"/>
                  <a:gd name="connsiteY0" fmla="*/ 665240 h 665240"/>
                  <a:gd name="connsiteX1" fmla="*/ 100947 w 100946"/>
                  <a:gd name="connsiteY1" fmla="*/ 151420 h 665240"/>
                  <a:gd name="connsiteX2" fmla="*/ 67298 w 100946"/>
                  <a:gd name="connsiteY2" fmla="*/ 0 h 665240"/>
                  <a:gd name="connsiteX3" fmla="*/ 33649 w 100946"/>
                  <a:gd name="connsiteY3" fmla="*/ 0 h 665240"/>
                  <a:gd name="connsiteX4" fmla="*/ 0 w 100946"/>
                  <a:gd name="connsiteY4" fmla="*/ 151420 h 665240"/>
                  <a:gd name="connsiteX5" fmla="*/ 0 w 100946"/>
                  <a:gd name="connsiteY5" fmla="*/ 665240 h 6652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00946" h="665240">
                    <a:moveTo>
                      <a:pt x="100947" y="665240"/>
                    </a:moveTo>
                    <a:lnTo>
                      <a:pt x="100947" y="151420"/>
                    </a:lnTo>
                    <a:lnTo>
                      <a:pt x="67298" y="0"/>
                    </a:lnTo>
                    <a:lnTo>
                      <a:pt x="33649" y="0"/>
                    </a:lnTo>
                    <a:lnTo>
                      <a:pt x="0" y="151420"/>
                    </a:lnTo>
                    <a:lnTo>
                      <a:pt x="0" y="665240"/>
                    </a:lnTo>
                  </a:path>
                </a:pathLst>
              </a:custGeom>
              <a:noFill/>
              <a:ln w="12700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53" name="Freeform: Shape 138">
                <a:extLst>
                  <a:ext uri="{FF2B5EF4-FFF2-40B4-BE49-F238E27FC236}">
                    <a16:creationId xmlns:a16="http://schemas.microsoft.com/office/drawing/2014/main" xmlns="" id="{FDF59AB2-E722-4A76-AC4B-6025753E86B7}"/>
                  </a:ext>
                </a:extLst>
              </p:cNvPr>
              <p:cNvSpPr/>
              <p:nvPr/>
            </p:nvSpPr>
            <p:spPr>
              <a:xfrm>
                <a:off x="305779" y="237808"/>
                <a:ext cx="16824" cy="555881"/>
              </a:xfrm>
              <a:custGeom>
                <a:avLst/>
                <a:gdLst>
                  <a:gd name="connsiteX0" fmla="*/ 0 w 16824"/>
                  <a:gd name="connsiteY0" fmla="*/ 0 h 555881"/>
                  <a:gd name="connsiteX1" fmla="*/ 0 w 16824"/>
                  <a:gd name="connsiteY1" fmla="*/ 555881 h 5558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824" h="555881">
                    <a:moveTo>
                      <a:pt x="0" y="0"/>
                    </a:moveTo>
                    <a:lnTo>
                      <a:pt x="0" y="555881"/>
                    </a:lnTo>
                  </a:path>
                </a:pathLst>
              </a:custGeom>
              <a:ln w="12700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54" name="Freeform: Shape 139">
                <a:extLst>
                  <a:ext uri="{FF2B5EF4-FFF2-40B4-BE49-F238E27FC236}">
                    <a16:creationId xmlns:a16="http://schemas.microsoft.com/office/drawing/2014/main" xmlns="" id="{20AB0506-EC07-429D-9B0C-DF390DA1DA1D}"/>
                  </a:ext>
                </a:extLst>
              </p:cNvPr>
              <p:cNvSpPr/>
              <p:nvPr/>
            </p:nvSpPr>
            <p:spPr>
              <a:xfrm>
                <a:off x="221657" y="237808"/>
                <a:ext cx="16824" cy="555881"/>
              </a:xfrm>
              <a:custGeom>
                <a:avLst/>
                <a:gdLst>
                  <a:gd name="connsiteX0" fmla="*/ 0 w 16824"/>
                  <a:gd name="connsiteY0" fmla="*/ 555881 h 555881"/>
                  <a:gd name="connsiteX1" fmla="*/ 0 w 16824"/>
                  <a:gd name="connsiteY1" fmla="*/ 0 h 5558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824" h="555881">
                    <a:moveTo>
                      <a:pt x="0" y="555881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55" name="Freeform: Shape 140">
                <a:extLst>
                  <a:ext uri="{FF2B5EF4-FFF2-40B4-BE49-F238E27FC236}">
                    <a16:creationId xmlns:a16="http://schemas.microsoft.com/office/drawing/2014/main" xmlns="" id="{737831AE-EBE9-499F-9547-552CA7788268}"/>
                  </a:ext>
                </a:extLst>
              </p:cNvPr>
              <p:cNvSpPr/>
              <p:nvPr/>
            </p:nvSpPr>
            <p:spPr>
              <a:xfrm>
                <a:off x="221657" y="120710"/>
                <a:ext cx="84122" cy="100273"/>
              </a:xfrm>
              <a:custGeom>
                <a:avLst/>
                <a:gdLst>
                  <a:gd name="connsiteX0" fmla="*/ 0 w 84122"/>
                  <a:gd name="connsiteY0" fmla="*/ 100274 h 100273"/>
                  <a:gd name="connsiteX1" fmla="*/ 16824 w 84122"/>
                  <a:gd name="connsiteY1" fmla="*/ 0 h 100273"/>
                  <a:gd name="connsiteX2" fmla="*/ 67298 w 84122"/>
                  <a:gd name="connsiteY2" fmla="*/ 0 h 100273"/>
                  <a:gd name="connsiteX3" fmla="*/ 84122 w 84122"/>
                  <a:gd name="connsiteY3" fmla="*/ 100274 h 1002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4122" h="100273">
                    <a:moveTo>
                      <a:pt x="0" y="100274"/>
                    </a:moveTo>
                    <a:lnTo>
                      <a:pt x="16824" y="0"/>
                    </a:lnTo>
                    <a:lnTo>
                      <a:pt x="67298" y="0"/>
                    </a:lnTo>
                    <a:lnTo>
                      <a:pt x="84122" y="100274"/>
                    </a:lnTo>
                  </a:path>
                </a:pathLst>
              </a:custGeom>
              <a:noFill/>
              <a:ln w="12700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56" name="Freeform: Shape 141">
                <a:extLst>
                  <a:ext uri="{FF2B5EF4-FFF2-40B4-BE49-F238E27FC236}">
                    <a16:creationId xmlns:a16="http://schemas.microsoft.com/office/drawing/2014/main" xmlns="" id="{6FC168CE-7AF6-4251-ADED-D5A2E4B716B8}"/>
                  </a:ext>
                </a:extLst>
              </p:cNvPr>
              <p:cNvSpPr/>
              <p:nvPr/>
            </p:nvSpPr>
            <p:spPr>
              <a:xfrm>
                <a:off x="423551" y="608620"/>
                <a:ext cx="16824" cy="185069"/>
              </a:xfrm>
              <a:custGeom>
                <a:avLst/>
                <a:gdLst>
                  <a:gd name="connsiteX0" fmla="*/ 0 w 16824"/>
                  <a:gd name="connsiteY0" fmla="*/ 185069 h 185069"/>
                  <a:gd name="connsiteX1" fmla="*/ 0 w 16824"/>
                  <a:gd name="connsiteY1" fmla="*/ 0 h 1850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824" h="185069">
                    <a:moveTo>
                      <a:pt x="0" y="185069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57" name="Freeform: Shape 142">
                <a:extLst>
                  <a:ext uri="{FF2B5EF4-FFF2-40B4-BE49-F238E27FC236}">
                    <a16:creationId xmlns:a16="http://schemas.microsoft.com/office/drawing/2014/main" xmlns="" id="{ED167542-2709-43A2-9A71-E29E70068B43}"/>
                  </a:ext>
                </a:extLst>
              </p:cNvPr>
              <p:cNvSpPr/>
              <p:nvPr/>
            </p:nvSpPr>
            <p:spPr>
              <a:xfrm>
                <a:off x="490848" y="608620"/>
                <a:ext cx="16824" cy="185069"/>
              </a:xfrm>
              <a:custGeom>
                <a:avLst/>
                <a:gdLst>
                  <a:gd name="connsiteX0" fmla="*/ 0 w 16824"/>
                  <a:gd name="connsiteY0" fmla="*/ 185069 h 185069"/>
                  <a:gd name="connsiteX1" fmla="*/ 0 w 16824"/>
                  <a:gd name="connsiteY1" fmla="*/ 0 h 1850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824" h="185069">
                    <a:moveTo>
                      <a:pt x="0" y="185069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58" name="Freeform: Shape 143">
                <a:extLst>
                  <a:ext uri="{FF2B5EF4-FFF2-40B4-BE49-F238E27FC236}">
                    <a16:creationId xmlns:a16="http://schemas.microsoft.com/office/drawing/2014/main" xmlns="" id="{CDBAAEB8-8B37-4CBF-94F3-7770FF08B3B1}"/>
                  </a:ext>
                </a:extLst>
              </p:cNvPr>
              <p:cNvSpPr/>
              <p:nvPr/>
            </p:nvSpPr>
            <p:spPr>
              <a:xfrm>
                <a:off x="423551" y="406726"/>
                <a:ext cx="67297" cy="201893"/>
              </a:xfrm>
              <a:custGeom>
                <a:avLst/>
                <a:gdLst>
                  <a:gd name="connsiteX0" fmla="*/ 0 w 67297"/>
                  <a:gd name="connsiteY0" fmla="*/ 201894 h 201893"/>
                  <a:gd name="connsiteX1" fmla="*/ 0 w 67297"/>
                  <a:gd name="connsiteY1" fmla="*/ 0 h 201893"/>
                  <a:gd name="connsiteX2" fmla="*/ 67298 w 67297"/>
                  <a:gd name="connsiteY2" fmla="*/ 0 h 201893"/>
                  <a:gd name="connsiteX3" fmla="*/ 67298 w 67297"/>
                  <a:gd name="connsiteY3" fmla="*/ 201894 h 2018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7297" h="201893">
                    <a:moveTo>
                      <a:pt x="0" y="201894"/>
                    </a:moveTo>
                    <a:lnTo>
                      <a:pt x="0" y="0"/>
                    </a:lnTo>
                    <a:lnTo>
                      <a:pt x="67298" y="0"/>
                    </a:lnTo>
                    <a:lnTo>
                      <a:pt x="67298" y="201894"/>
                    </a:lnTo>
                  </a:path>
                </a:pathLst>
              </a:custGeom>
              <a:noFill/>
              <a:ln w="12700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59" name="Freeform: Shape 144">
                <a:extLst>
                  <a:ext uri="{FF2B5EF4-FFF2-40B4-BE49-F238E27FC236}">
                    <a16:creationId xmlns:a16="http://schemas.microsoft.com/office/drawing/2014/main" xmlns="" id="{CC5EBF89-821E-4556-AFE4-5A61C1439202}"/>
                  </a:ext>
                </a:extLst>
              </p:cNvPr>
              <p:cNvSpPr/>
              <p:nvPr/>
            </p:nvSpPr>
            <p:spPr>
              <a:xfrm>
                <a:off x="120710" y="229396"/>
                <a:ext cx="336489" cy="168244"/>
              </a:xfrm>
              <a:custGeom>
                <a:avLst/>
                <a:gdLst>
                  <a:gd name="connsiteX0" fmla="*/ 0 w 336489"/>
                  <a:gd name="connsiteY0" fmla="*/ 0 h 168244"/>
                  <a:gd name="connsiteX1" fmla="*/ 336490 w 336489"/>
                  <a:gd name="connsiteY1" fmla="*/ 0 h 168244"/>
                  <a:gd name="connsiteX2" fmla="*/ 336490 w 336489"/>
                  <a:gd name="connsiteY2" fmla="*/ 168245 h 1682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36489" h="168244">
                    <a:moveTo>
                      <a:pt x="0" y="0"/>
                    </a:moveTo>
                    <a:lnTo>
                      <a:pt x="336490" y="0"/>
                    </a:lnTo>
                    <a:lnTo>
                      <a:pt x="336490" y="168245"/>
                    </a:lnTo>
                  </a:path>
                </a:pathLst>
              </a:custGeom>
              <a:noFill/>
              <a:ln w="12700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60" name="Freeform: Shape 145">
                <a:extLst>
                  <a:ext uri="{FF2B5EF4-FFF2-40B4-BE49-F238E27FC236}">
                    <a16:creationId xmlns:a16="http://schemas.microsoft.com/office/drawing/2014/main" xmlns="" id="{5AAB1BAC-08A2-4180-BA8B-93DB76D6CA7C}"/>
                  </a:ext>
                </a:extLst>
              </p:cNvPr>
              <p:cNvSpPr/>
              <p:nvPr/>
            </p:nvSpPr>
            <p:spPr>
              <a:xfrm>
                <a:off x="457200" y="279869"/>
                <a:ext cx="336489" cy="16824"/>
              </a:xfrm>
              <a:custGeom>
                <a:avLst/>
                <a:gdLst>
                  <a:gd name="connsiteX0" fmla="*/ 0 w 336489"/>
                  <a:gd name="connsiteY0" fmla="*/ 0 h 16824"/>
                  <a:gd name="connsiteX1" fmla="*/ 336490 w 336489"/>
                  <a:gd name="connsiteY1" fmla="*/ 0 h 168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36489" h="16824">
                    <a:moveTo>
                      <a:pt x="0" y="0"/>
                    </a:moveTo>
                    <a:lnTo>
                      <a:pt x="336490" y="0"/>
                    </a:lnTo>
                  </a:path>
                </a:pathLst>
              </a:custGeom>
              <a:ln w="12700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</p:grpSp>
      </p:grpSp>
      <p:sp>
        <p:nvSpPr>
          <p:cNvPr id="158" name="TextBox 157">
            <a:extLst>
              <a:ext uri="{FF2B5EF4-FFF2-40B4-BE49-F238E27FC236}">
                <a16:creationId xmlns:a16="http://schemas.microsoft.com/office/drawing/2014/main" xmlns="" id="{7648FB5C-6332-4CEB-9E7C-CFC257B5377A}"/>
              </a:ext>
            </a:extLst>
          </p:cNvPr>
          <p:cNvSpPr txBox="1"/>
          <p:nvPr/>
        </p:nvSpPr>
        <p:spPr>
          <a:xfrm>
            <a:off x="996902" y="2936242"/>
            <a:ext cx="6107986" cy="45653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0975" lvl="1" indent="-180975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100" dirty="0"/>
              <a:t>Two 1,400 MW, ±525 kV HVDC Light</a:t>
            </a:r>
            <a:r>
              <a:rPr lang="en-US" sz="1100" baseline="30000" dirty="0"/>
              <a:t>®</a:t>
            </a:r>
            <a:r>
              <a:rPr lang="en-US" sz="1100" dirty="0"/>
              <a:t> converter stations</a:t>
            </a:r>
          </a:p>
          <a:p>
            <a:pPr marL="180975" lvl="1" indent="-180975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100" dirty="0"/>
              <a:t>525 kV DC subsea and land MI cables for over 200 km of the route</a:t>
            </a:r>
          </a:p>
        </p:txBody>
      </p:sp>
      <p:pic>
        <p:nvPicPr>
          <p:cNvPr id="159" name="Graphic 158">
            <a:extLst>
              <a:ext uri="{FF2B5EF4-FFF2-40B4-BE49-F238E27FC236}">
                <a16:creationId xmlns:a16="http://schemas.microsoft.com/office/drawing/2014/main" xmlns="" id="{FB4D2258-B1F0-42A5-84D4-05202277095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332350" y="5102111"/>
            <a:ext cx="466725" cy="466725"/>
          </a:xfrm>
          <a:prstGeom prst="rect">
            <a:avLst/>
          </a:prstGeom>
        </p:spPr>
      </p:pic>
      <p:grpSp>
        <p:nvGrpSpPr>
          <p:cNvPr id="160" name="Group 159">
            <a:extLst>
              <a:ext uri="{FF2B5EF4-FFF2-40B4-BE49-F238E27FC236}">
                <a16:creationId xmlns:a16="http://schemas.microsoft.com/office/drawing/2014/main" xmlns="" id="{86835081-BA10-4F9F-9FD9-43F39E4BA36E}"/>
              </a:ext>
            </a:extLst>
          </p:cNvPr>
          <p:cNvGrpSpPr/>
          <p:nvPr/>
        </p:nvGrpSpPr>
        <p:grpSpPr>
          <a:xfrm>
            <a:off x="2796852" y="5197617"/>
            <a:ext cx="312832" cy="312830"/>
            <a:chOff x="120710" y="120710"/>
            <a:chExt cx="672979" cy="672979"/>
          </a:xfrm>
        </p:grpSpPr>
        <p:grpSp>
          <p:nvGrpSpPr>
            <p:cNvPr id="161" name="Group 160">
              <a:extLst>
                <a:ext uri="{FF2B5EF4-FFF2-40B4-BE49-F238E27FC236}">
                  <a16:creationId xmlns:a16="http://schemas.microsoft.com/office/drawing/2014/main" xmlns="" id="{4BDBC7D1-A609-4156-B404-CF2685249CE1}"/>
                </a:ext>
              </a:extLst>
            </p:cNvPr>
            <p:cNvGrpSpPr/>
            <p:nvPr/>
          </p:nvGrpSpPr>
          <p:grpSpPr>
            <a:xfrm>
              <a:off x="339428" y="238481"/>
              <a:ext cx="235543" cy="311253"/>
              <a:chOff x="339428" y="238481"/>
              <a:chExt cx="235543" cy="311253"/>
            </a:xfrm>
          </p:grpSpPr>
          <p:sp>
            <p:nvSpPr>
              <p:cNvPr id="172" name="Freeform: Shape 333">
                <a:extLst>
                  <a:ext uri="{FF2B5EF4-FFF2-40B4-BE49-F238E27FC236}">
                    <a16:creationId xmlns:a16="http://schemas.microsoft.com/office/drawing/2014/main" xmlns="" id="{72DB580F-C0ED-4E78-9FB0-0DD796839ACF}"/>
                  </a:ext>
                </a:extLst>
              </p:cNvPr>
              <p:cNvSpPr/>
              <p:nvPr/>
            </p:nvSpPr>
            <p:spPr>
              <a:xfrm>
                <a:off x="339428" y="238481"/>
                <a:ext cx="168" cy="50473"/>
              </a:xfrm>
              <a:custGeom>
                <a:avLst/>
                <a:gdLst>
                  <a:gd name="connsiteX0" fmla="*/ 168 w 168"/>
                  <a:gd name="connsiteY0" fmla="*/ 0 h 50473"/>
                  <a:gd name="connsiteX1" fmla="*/ 0 w 168"/>
                  <a:gd name="connsiteY1" fmla="*/ 50473 h 504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8" h="50473">
                    <a:moveTo>
                      <a:pt x="168" y="0"/>
                    </a:moveTo>
                    <a:lnTo>
                      <a:pt x="0" y="50473"/>
                    </a:lnTo>
                  </a:path>
                </a:pathLst>
              </a:custGeom>
              <a:ln w="9525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73" name="Freeform: Shape 334">
                <a:extLst>
                  <a:ext uri="{FF2B5EF4-FFF2-40B4-BE49-F238E27FC236}">
                    <a16:creationId xmlns:a16="http://schemas.microsoft.com/office/drawing/2014/main" xmlns="" id="{37B136F0-5D08-4128-9FE2-5182B819D0F1}"/>
                  </a:ext>
                </a:extLst>
              </p:cNvPr>
              <p:cNvSpPr/>
              <p:nvPr/>
            </p:nvSpPr>
            <p:spPr>
              <a:xfrm>
                <a:off x="457031" y="238481"/>
                <a:ext cx="168" cy="50473"/>
              </a:xfrm>
              <a:custGeom>
                <a:avLst/>
                <a:gdLst>
                  <a:gd name="connsiteX0" fmla="*/ 168 w 168"/>
                  <a:gd name="connsiteY0" fmla="*/ 0 h 50473"/>
                  <a:gd name="connsiteX1" fmla="*/ 0 w 168"/>
                  <a:gd name="connsiteY1" fmla="*/ 50473 h 504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8" h="50473">
                    <a:moveTo>
                      <a:pt x="168" y="0"/>
                    </a:moveTo>
                    <a:lnTo>
                      <a:pt x="0" y="50473"/>
                    </a:lnTo>
                  </a:path>
                </a:pathLst>
              </a:custGeom>
              <a:ln w="9525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74" name="Freeform: Shape 335">
                <a:extLst>
                  <a:ext uri="{FF2B5EF4-FFF2-40B4-BE49-F238E27FC236}">
                    <a16:creationId xmlns:a16="http://schemas.microsoft.com/office/drawing/2014/main" xmlns="" id="{6E592209-19A2-4DBC-BD28-4B27A03F2C3B}"/>
                  </a:ext>
                </a:extLst>
              </p:cNvPr>
              <p:cNvSpPr/>
              <p:nvPr/>
            </p:nvSpPr>
            <p:spPr>
              <a:xfrm>
                <a:off x="574803" y="238481"/>
                <a:ext cx="168" cy="50473"/>
              </a:xfrm>
              <a:custGeom>
                <a:avLst/>
                <a:gdLst>
                  <a:gd name="connsiteX0" fmla="*/ 168 w 168"/>
                  <a:gd name="connsiteY0" fmla="*/ 0 h 50473"/>
                  <a:gd name="connsiteX1" fmla="*/ 0 w 168"/>
                  <a:gd name="connsiteY1" fmla="*/ 50473 h 504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8" h="50473">
                    <a:moveTo>
                      <a:pt x="168" y="0"/>
                    </a:moveTo>
                    <a:lnTo>
                      <a:pt x="0" y="50473"/>
                    </a:lnTo>
                  </a:path>
                </a:pathLst>
              </a:custGeom>
              <a:ln w="9525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75" name="Freeform: Shape 336">
                <a:extLst>
                  <a:ext uri="{FF2B5EF4-FFF2-40B4-BE49-F238E27FC236}">
                    <a16:creationId xmlns:a16="http://schemas.microsoft.com/office/drawing/2014/main" xmlns="" id="{9F244612-5500-4712-BE29-8F6EEB602A44}"/>
                  </a:ext>
                </a:extLst>
              </p:cNvPr>
              <p:cNvSpPr/>
              <p:nvPr/>
            </p:nvSpPr>
            <p:spPr>
              <a:xfrm>
                <a:off x="339428" y="389902"/>
                <a:ext cx="168" cy="159832"/>
              </a:xfrm>
              <a:custGeom>
                <a:avLst/>
                <a:gdLst>
                  <a:gd name="connsiteX0" fmla="*/ 168 w 168"/>
                  <a:gd name="connsiteY0" fmla="*/ 0 h 159832"/>
                  <a:gd name="connsiteX1" fmla="*/ 0 w 168"/>
                  <a:gd name="connsiteY1" fmla="*/ 159833 h 1598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8" h="159832">
                    <a:moveTo>
                      <a:pt x="168" y="0"/>
                    </a:moveTo>
                    <a:lnTo>
                      <a:pt x="0" y="159833"/>
                    </a:lnTo>
                  </a:path>
                </a:pathLst>
              </a:custGeom>
              <a:ln w="9525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76" name="Freeform: Shape 337">
                <a:extLst>
                  <a:ext uri="{FF2B5EF4-FFF2-40B4-BE49-F238E27FC236}">
                    <a16:creationId xmlns:a16="http://schemas.microsoft.com/office/drawing/2014/main" xmlns="" id="{0FE036F6-B8E5-4AB9-BD70-BEDBFD307FE0}"/>
                  </a:ext>
                </a:extLst>
              </p:cNvPr>
              <p:cNvSpPr/>
              <p:nvPr/>
            </p:nvSpPr>
            <p:spPr>
              <a:xfrm>
                <a:off x="457031" y="389902"/>
                <a:ext cx="168" cy="159832"/>
              </a:xfrm>
              <a:custGeom>
                <a:avLst/>
                <a:gdLst>
                  <a:gd name="connsiteX0" fmla="*/ 168 w 168"/>
                  <a:gd name="connsiteY0" fmla="*/ 0 h 159832"/>
                  <a:gd name="connsiteX1" fmla="*/ 0 w 168"/>
                  <a:gd name="connsiteY1" fmla="*/ 159833 h 1598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8" h="159832">
                    <a:moveTo>
                      <a:pt x="168" y="0"/>
                    </a:moveTo>
                    <a:lnTo>
                      <a:pt x="0" y="159833"/>
                    </a:lnTo>
                  </a:path>
                </a:pathLst>
              </a:custGeom>
              <a:ln w="9525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77" name="Freeform: Shape 338">
                <a:extLst>
                  <a:ext uri="{FF2B5EF4-FFF2-40B4-BE49-F238E27FC236}">
                    <a16:creationId xmlns:a16="http://schemas.microsoft.com/office/drawing/2014/main" xmlns="" id="{3258C70C-F962-4943-8838-5288FF4771E5}"/>
                  </a:ext>
                </a:extLst>
              </p:cNvPr>
              <p:cNvSpPr/>
              <p:nvPr/>
            </p:nvSpPr>
            <p:spPr>
              <a:xfrm>
                <a:off x="574803" y="389902"/>
                <a:ext cx="168" cy="159832"/>
              </a:xfrm>
              <a:custGeom>
                <a:avLst/>
                <a:gdLst>
                  <a:gd name="connsiteX0" fmla="*/ 168 w 168"/>
                  <a:gd name="connsiteY0" fmla="*/ 0 h 159832"/>
                  <a:gd name="connsiteX1" fmla="*/ 0 w 168"/>
                  <a:gd name="connsiteY1" fmla="*/ 159833 h 1598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8" h="159832">
                    <a:moveTo>
                      <a:pt x="168" y="0"/>
                    </a:moveTo>
                    <a:lnTo>
                      <a:pt x="0" y="159833"/>
                    </a:lnTo>
                  </a:path>
                </a:pathLst>
              </a:custGeom>
              <a:ln w="9525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</p:grpSp>
        <p:grpSp>
          <p:nvGrpSpPr>
            <p:cNvPr id="162" name="Group 161">
              <a:extLst>
                <a:ext uri="{FF2B5EF4-FFF2-40B4-BE49-F238E27FC236}">
                  <a16:creationId xmlns:a16="http://schemas.microsoft.com/office/drawing/2014/main" xmlns="" id="{55D952FE-88D6-40C7-8522-36302A4F62F7}"/>
                </a:ext>
              </a:extLst>
            </p:cNvPr>
            <p:cNvGrpSpPr/>
            <p:nvPr/>
          </p:nvGrpSpPr>
          <p:grpSpPr>
            <a:xfrm>
              <a:off x="120710" y="120710"/>
              <a:ext cx="672979" cy="672979"/>
              <a:chOff x="120710" y="120710"/>
              <a:chExt cx="672979" cy="672979"/>
            </a:xfrm>
          </p:grpSpPr>
          <p:sp>
            <p:nvSpPr>
              <p:cNvPr id="163" name="Freeform: Shape 340">
                <a:extLst>
                  <a:ext uri="{FF2B5EF4-FFF2-40B4-BE49-F238E27FC236}">
                    <a16:creationId xmlns:a16="http://schemas.microsoft.com/office/drawing/2014/main" xmlns="" id="{B977C677-A482-4AAD-9E80-8CD3ECB61734}"/>
                  </a:ext>
                </a:extLst>
              </p:cNvPr>
              <p:cNvSpPr/>
              <p:nvPr/>
            </p:nvSpPr>
            <p:spPr>
              <a:xfrm>
                <a:off x="171183" y="171183"/>
                <a:ext cx="572032" cy="622506"/>
              </a:xfrm>
              <a:custGeom>
                <a:avLst/>
                <a:gdLst>
                  <a:gd name="connsiteX0" fmla="*/ 0 w 572032"/>
                  <a:gd name="connsiteY0" fmla="*/ 622506 h 622506"/>
                  <a:gd name="connsiteX1" fmla="*/ 0 w 572032"/>
                  <a:gd name="connsiteY1" fmla="*/ 0 h 622506"/>
                  <a:gd name="connsiteX2" fmla="*/ 572033 w 572032"/>
                  <a:gd name="connsiteY2" fmla="*/ 0 h 622506"/>
                  <a:gd name="connsiteX3" fmla="*/ 572033 w 572032"/>
                  <a:gd name="connsiteY3" fmla="*/ 622506 h 62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72032" h="622506">
                    <a:moveTo>
                      <a:pt x="0" y="622506"/>
                    </a:moveTo>
                    <a:lnTo>
                      <a:pt x="0" y="0"/>
                    </a:lnTo>
                    <a:lnTo>
                      <a:pt x="572033" y="0"/>
                    </a:lnTo>
                    <a:lnTo>
                      <a:pt x="572033" y="622506"/>
                    </a:lnTo>
                  </a:path>
                </a:pathLst>
              </a:custGeom>
              <a:noFill/>
              <a:ln w="9525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64" name="Freeform: Shape 341">
                <a:extLst>
                  <a:ext uri="{FF2B5EF4-FFF2-40B4-BE49-F238E27FC236}">
                    <a16:creationId xmlns:a16="http://schemas.microsoft.com/office/drawing/2014/main" xmlns="" id="{81B311A5-4361-41B6-9C71-E8F2CF89BD2A}"/>
                  </a:ext>
                </a:extLst>
              </p:cNvPr>
              <p:cNvSpPr/>
              <p:nvPr/>
            </p:nvSpPr>
            <p:spPr>
              <a:xfrm>
                <a:off x="272130" y="171183"/>
                <a:ext cx="370138" cy="67297"/>
              </a:xfrm>
              <a:custGeom>
                <a:avLst/>
                <a:gdLst>
                  <a:gd name="connsiteX0" fmla="*/ 0 w 370138"/>
                  <a:gd name="connsiteY0" fmla="*/ 0 h 67297"/>
                  <a:gd name="connsiteX1" fmla="*/ 0 w 370138"/>
                  <a:gd name="connsiteY1" fmla="*/ 67298 h 67297"/>
                  <a:gd name="connsiteX2" fmla="*/ 370139 w 370138"/>
                  <a:gd name="connsiteY2" fmla="*/ 67298 h 67297"/>
                  <a:gd name="connsiteX3" fmla="*/ 370139 w 370138"/>
                  <a:gd name="connsiteY3" fmla="*/ 0 h 672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70138" h="67297">
                    <a:moveTo>
                      <a:pt x="0" y="0"/>
                    </a:moveTo>
                    <a:lnTo>
                      <a:pt x="0" y="67298"/>
                    </a:lnTo>
                    <a:lnTo>
                      <a:pt x="370139" y="67298"/>
                    </a:lnTo>
                    <a:lnTo>
                      <a:pt x="370139" y="0"/>
                    </a:lnTo>
                  </a:path>
                </a:pathLst>
              </a:custGeom>
              <a:noFill/>
              <a:ln w="9525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65" name="Freeform: Shape 342">
                <a:extLst>
                  <a:ext uri="{FF2B5EF4-FFF2-40B4-BE49-F238E27FC236}">
                    <a16:creationId xmlns:a16="http://schemas.microsoft.com/office/drawing/2014/main" xmlns="" id="{466DEE86-3287-4DAC-A582-E7E55C5A1A66}"/>
                  </a:ext>
                </a:extLst>
              </p:cNvPr>
              <p:cNvSpPr/>
              <p:nvPr/>
            </p:nvSpPr>
            <p:spPr>
              <a:xfrm>
                <a:off x="288955" y="608620"/>
                <a:ext cx="336489" cy="185069"/>
              </a:xfrm>
              <a:custGeom>
                <a:avLst/>
                <a:gdLst>
                  <a:gd name="connsiteX0" fmla="*/ 0 w 336489"/>
                  <a:gd name="connsiteY0" fmla="*/ 0 h 185069"/>
                  <a:gd name="connsiteX1" fmla="*/ 336490 w 336489"/>
                  <a:gd name="connsiteY1" fmla="*/ 0 h 185069"/>
                  <a:gd name="connsiteX2" fmla="*/ 336490 w 336489"/>
                  <a:gd name="connsiteY2" fmla="*/ 185069 h 185069"/>
                  <a:gd name="connsiteX3" fmla="*/ 0 w 336489"/>
                  <a:gd name="connsiteY3" fmla="*/ 185069 h 1850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6489" h="185069">
                    <a:moveTo>
                      <a:pt x="0" y="0"/>
                    </a:moveTo>
                    <a:lnTo>
                      <a:pt x="336490" y="0"/>
                    </a:lnTo>
                    <a:lnTo>
                      <a:pt x="336490" y="185069"/>
                    </a:lnTo>
                    <a:lnTo>
                      <a:pt x="0" y="185069"/>
                    </a:lnTo>
                    <a:close/>
                  </a:path>
                </a:pathLst>
              </a:custGeom>
              <a:noFill/>
              <a:ln w="9525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68" name="Freeform: Shape 343">
                <a:extLst>
                  <a:ext uri="{FF2B5EF4-FFF2-40B4-BE49-F238E27FC236}">
                    <a16:creationId xmlns:a16="http://schemas.microsoft.com/office/drawing/2014/main" xmlns="" id="{7A03E441-6191-4AB0-BA92-0B664338700A}"/>
                  </a:ext>
                </a:extLst>
              </p:cNvPr>
              <p:cNvSpPr/>
              <p:nvPr/>
            </p:nvSpPr>
            <p:spPr>
              <a:xfrm>
                <a:off x="305779" y="558146"/>
                <a:ext cx="67297" cy="50473"/>
              </a:xfrm>
              <a:custGeom>
                <a:avLst/>
                <a:gdLst>
                  <a:gd name="connsiteX0" fmla="*/ 0 w 67297"/>
                  <a:gd name="connsiteY0" fmla="*/ 0 h 50473"/>
                  <a:gd name="connsiteX1" fmla="*/ 67298 w 67297"/>
                  <a:gd name="connsiteY1" fmla="*/ 0 h 50473"/>
                  <a:gd name="connsiteX2" fmla="*/ 67298 w 67297"/>
                  <a:gd name="connsiteY2" fmla="*/ 50473 h 50473"/>
                  <a:gd name="connsiteX3" fmla="*/ 0 w 67297"/>
                  <a:gd name="connsiteY3" fmla="*/ 50473 h 504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7297" h="50473">
                    <a:moveTo>
                      <a:pt x="0" y="0"/>
                    </a:moveTo>
                    <a:lnTo>
                      <a:pt x="67298" y="0"/>
                    </a:lnTo>
                    <a:lnTo>
                      <a:pt x="67298" y="50473"/>
                    </a:lnTo>
                    <a:lnTo>
                      <a:pt x="0" y="50473"/>
                    </a:lnTo>
                    <a:close/>
                  </a:path>
                </a:pathLst>
              </a:custGeom>
              <a:noFill/>
              <a:ln w="9525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69" name="Freeform: Shape 344">
                <a:extLst>
                  <a:ext uri="{FF2B5EF4-FFF2-40B4-BE49-F238E27FC236}">
                    <a16:creationId xmlns:a16="http://schemas.microsoft.com/office/drawing/2014/main" xmlns="" id="{75A1D57D-0885-4CE4-B65A-6E534A134440}"/>
                  </a:ext>
                </a:extLst>
              </p:cNvPr>
              <p:cNvSpPr/>
              <p:nvPr/>
            </p:nvSpPr>
            <p:spPr>
              <a:xfrm>
                <a:off x="423551" y="558146"/>
                <a:ext cx="67297" cy="50473"/>
              </a:xfrm>
              <a:custGeom>
                <a:avLst/>
                <a:gdLst>
                  <a:gd name="connsiteX0" fmla="*/ 0 w 67297"/>
                  <a:gd name="connsiteY0" fmla="*/ 0 h 50473"/>
                  <a:gd name="connsiteX1" fmla="*/ 67298 w 67297"/>
                  <a:gd name="connsiteY1" fmla="*/ 0 h 50473"/>
                  <a:gd name="connsiteX2" fmla="*/ 67298 w 67297"/>
                  <a:gd name="connsiteY2" fmla="*/ 50473 h 50473"/>
                  <a:gd name="connsiteX3" fmla="*/ 0 w 67297"/>
                  <a:gd name="connsiteY3" fmla="*/ 50473 h 504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7297" h="50473">
                    <a:moveTo>
                      <a:pt x="0" y="0"/>
                    </a:moveTo>
                    <a:lnTo>
                      <a:pt x="67298" y="0"/>
                    </a:lnTo>
                    <a:lnTo>
                      <a:pt x="67298" y="50473"/>
                    </a:lnTo>
                    <a:lnTo>
                      <a:pt x="0" y="50473"/>
                    </a:lnTo>
                    <a:close/>
                  </a:path>
                </a:pathLst>
              </a:custGeom>
              <a:noFill/>
              <a:ln w="9525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70" name="Freeform: Shape 345">
                <a:extLst>
                  <a:ext uri="{FF2B5EF4-FFF2-40B4-BE49-F238E27FC236}">
                    <a16:creationId xmlns:a16="http://schemas.microsoft.com/office/drawing/2014/main" xmlns="" id="{F10D1E88-DAA2-460E-80C9-5BC45F2D04CF}"/>
                  </a:ext>
                </a:extLst>
              </p:cNvPr>
              <p:cNvSpPr/>
              <p:nvPr/>
            </p:nvSpPr>
            <p:spPr>
              <a:xfrm>
                <a:off x="541322" y="558146"/>
                <a:ext cx="67297" cy="50473"/>
              </a:xfrm>
              <a:custGeom>
                <a:avLst/>
                <a:gdLst>
                  <a:gd name="connsiteX0" fmla="*/ 0 w 67297"/>
                  <a:gd name="connsiteY0" fmla="*/ 0 h 50473"/>
                  <a:gd name="connsiteX1" fmla="*/ 67298 w 67297"/>
                  <a:gd name="connsiteY1" fmla="*/ 0 h 50473"/>
                  <a:gd name="connsiteX2" fmla="*/ 67298 w 67297"/>
                  <a:gd name="connsiteY2" fmla="*/ 50473 h 50473"/>
                  <a:gd name="connsiteX3" fmla="*/ 0 w 67297"/>
                  <a:gd name="connsiteY3" fmla="*/ 50473 h 504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7297" h="50473">
                    <a:moveTo>
                      <a:pt x="0" y="0"/>
                    </a:moveTo>
                    <a:lnTo>
                      <a:pt x="67298" y="0"/>
                    </a:lnTo>
                    <a:lnTo>
                      <a:pt x="67298" y="50473"/>
                    </a:lnTo>
                    <a:lnTo>
                      <a:pt x="0" y="50473"/>
                    </a:lnTo>
                    <a:close/>
                  </a:path>
                </a:pathLst>
              </a:custGeom>
              <a:noFill/>
              <a:ln w="9525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71" name="Freeform: Shape 346">
                <a:extLst>
                  <a:ext uri="{FF2B5EF4-FFF2-40B4-BE49-F238E27FC236}">
                    <a16:creationId xmlns:a16="http://schemas.microsoft.com/office/drawing/2014/main" xmlns="" id="{F032E4B2-CA75-4E48-BC21-FDBC1AC1E1C2}"/>
                  </a:ext>
                </a:extLst>
              </p:cNvPr>
              <p:cNvSpPr/>
              <p:nvPr/>
            </p:nvSpPr>
            <p:spPr>
              <a:xfrm>
                <a:off x="120710" y="120710"/>
                <a:ext cx="672979" cy="672979"/>
              </a:xfrm>
              <a:custGeom>
                <a:avLst/>
                <a:gdLst>
                  <a:gd name="connsiteX0" fmla="*/ 672980 w 672979"/>
                  <a:gd name="connsiteY0" fmla="*/ 672980 h 672979"/>
                  <a:gd name="connsiteX1" fmla="*/ 0 w 672979"/>
                  <a:gd name="connsiteY1" fmla="*/ 672980 h 672979"/>
                  <a:gd name="connsiteX2" fmla="*/ 0 w 672979"/>
                  <a:gd name="connsiteY2" fmla="*/ 0 h 672979"/>
                  <a:gd name="connsiteX3" fmla="*/ 672980 w 672979"/>
                  <a:gd name="connsiteY3" fmla="*/ 0 h 672979"/>
                  <a:gd name="connsiteX4" fmla="*/ 672980 w 672979"/>
                  <a:gd name="connsiteY4" fmla="*/ 672980 h 6729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72979" h="672979">
                    <a:moveTo>
                      <a:pt x="672980" y="672980"/>
                    </a:moveTo>
                    <a:lnTo>
                      <a:pt x="0" y="672980"/>
                    </a:lnTo>
                    <a:lnTo>
                      <a:pt x="0" y="0"/>
                    </a:lnTo>
                    <a:lnTo>
                      <a:pt x="672980" y="0"/>
                    </a:lnTo>
                    <a:lnTo>
                      <a:pt x="672980" y="672980"/>
                    </a:lnTo>
                  </a:path>
                </a:pathLst>
              </a:custGeom>
              <a:noFill/>
              <a:ln w="9525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08481870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86A1FB1D-4A5F-4A30-BF4F-DE3C2B9BC5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0" dirty="0">
                <a:ea typeface="ABBvoice" panose="020D0603020503020204" pitchFamily="34" charset="0"/>
                <a:cs typeface="ABBvoice" panose="020D0603020503020204" pitchFamily="34" charset="0"/>
              </a:rPr>
              <a:t>NSL</a:t>
            </a:r>
            <a:endParaRPr lang="en-US" b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C1ACADF0-A65E-4D9B-B7D3-D0B8CA74A4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24EC536-6FE3-4540-8D85-74C58F0BF697}" type="slidenum">
              <a:rPr lang="en-US" smtClean="0"/>
              <a:pPr/>
              <a:t>12</a:t>
            </a:fld>
            <a:endParaRPr lang="en-US"/>
          </a:p>
        </p:txBody>
      </p:sp>
      <p:pic>
        <p:nvPicPr>
          <p:cNvPr id="7" name="Picture Placeholder 6" descr="Map&#10;&#10;Description automatically generated">
            <a:extLst>
              <a:ext uri="{FF2B5EF4-FFF2-40B4-BE49-F238E27FC236}">
                <a16:creationId xmlns:a16="http://schemas.microsoft.com/office/drawing/2014/main" xmlns="" id="{6A8FCBAD-1908-4A3B-B888-D8C913DAC332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  <p:grpSp>
        <p:nvGrpSpPr>
          <p:cNvPr id="20" name="Group 19">
            <a:extLst>
              <a:ext uri="{FF2B5EF4-FFF2-40B4-BE49-F238E27FC236}">
                <a16:creationId xmlns:a16="http://schemas.microsoft.com/office/drawing/2014/main" xmlns="" id="{501F6233-77CE-412E-AB5D-256FB9ECCDD8}"/>
              </a:ext>
            </a:extLst>
          </p:cNvPr>
          <p:cNvGrpSpPr/>
          <p:nvPr/>
        </p:nvGrpSpPr>
        <p:grpSpPr>
          <a:xfrm>
            <a:off x="1086394" y="4350413"/>
            <a:ext cx="4329805" cy="417746"/>
            <a:chOff x="1117050" y="4116473"/>
            <a:chExt cx="4121700" cy="397668"/>
          </a:xfrm>
        </p:grpSpPr>
        <p:sp>
          <p:nvSpPr>
            <p:cNvPr id="21" name="Text Placeholder 8">
              <a:extLst>
                <a:ext uri="{FF2B5EF4-FFF2-40B4-BE49-F238E27FC236}">
                  <a16:creationId xmlns:a16="http://schemas.microsoft.com/office/drawing/2014/main" xmlns="" id="{F1FDEFB9-D264-45E0-8BFB-AA15BA62EB5A}"/>
                </a:ext>
              </a:extLst>
            </p:cNvPr>
            <p:cNvSpPr txBox="1">
              <a:spLocks/>
            </p:cNvSpPr>
            <p:nvPr/>
          </p:nvSpPr>
          <p:spPr>
            <a:xfrm>
              <a:off x="1117050" y="4116473"/>
              <a:ext cx="3897020" cy="23438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​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80975" indent="-180975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0000" indent="-180975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Char char="​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0000" indent="-180975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60000" indent="-180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​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80000" indent="-180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0000" indent="-180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600" b="1" dirty="0">
                  <a:solidFill>
                    <a:schemeClr val="accent5"/>
                  </a:solidFill>
                </a:rPr>
                <a:t>Year</a:t>
              </a:r>
            </a:p>
          </p:txBody>
        </p:sp>
        <p:sp>
          <p:nvSpPr>
            <p:cNvPr id="22" name="Content Placeholder 7">
              <a:extLst>
                <a:ext uri="{FF2B5EF4-FFF2-40B4-BE49-F238E27FC236}">
                  <a16:creationId xmlns:a16="http://schemas.microsoft.com/office/drawing/2014/main" xmlns="" id="{E16C7C1F-38A3-4AEA-A1C9-0DDC110DBCD6}"/>
                </a:ext>
              </a:extLst>
            </p:cNvPr>
            <p:cNvSpPr txBox="1">
              <a:spLocks/>
            </p:cNvSpPr>
            <p:nvPr/>
          </p:nvSpPr>
          <p:spPr>
            <a:xfrm>
              <a:off x="1117056" y="4353000"/>
              <a:ext cx="4121694" cy="16114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​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80975" indent="-180975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0000" indent="-180975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Char char="​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0000" indent="-180975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60000" indent="-180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​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80000" indent="-180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0000" indent="-180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1" indent="0">
                <a:spcBef>
                  <a:spcPts val="0"/>
                </a:spcBef>
                <a:spcAft>
                  <a:spcPts val="200"/>
                </a:spcAft>
                <a:buNone/>
              </a:pPr>
              <a:r>
                <a:rPr lang="en-US" sz="1100" dirty="0"/>
                <a:t>2021</a:t>
              </a:r>
            </a:p>
          </p:txBody>
        </p:sp>
      </p:grpSp>
      <p:sp>
        <p:nvSpPr>
          <p:cNvPr id="26" name="Text Placeholder 8">
            <a:extLst>
              <a:ext uri="{FF2B5EF4-FFF2-40B4-BE49-F238E27FC236}">
                <a16:creationId xmlns:a16="http://schemas.microsoft.com/office/drawing/2014/main" xmlns="" id="{AC508FDE-11CE-4BB6-B667-D74539931821}"/>
              </a:ext>
            </a:extLst>
          </p:cNvPr>
          <p:cNvSpPr txBox="1">
            <a:spLocks/>
          </p:cNvSpPr>
          <p:nvPr/>
        </p:nvSpPr>
        <p:spPr>
          <a:xfrm>
            <a:off x="1086389" y="1313590"/>
            <a:ext cx="432980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>
                <a:solidFill>
                  <a:schemeClr val="tx2"/>
                </a:solidFill>
              </a:rPr>
              <a:t>Customer</a:t>
            </a:r>
          </a:p>
        </p:txBody>
      </p:sp>
      <p:sp>
        <p:nvSpPr>
          <p:cNvPr id="27" name="Content Placeholder 7">
            <a:extLst>
              <a:ext uri="{FF2B5EF4-FFF2-40B4-BE49-F238E27FC236}">
                <a16:creationId xmlns:a16="http://schemas.microsoft.com/office/drawing/2014/main" xmlns="" id="{3F60E2BA-25FE-497C-A5D0-6D0438F60320}"/>
              </a:ext>
            </a:extLst>
          </p:cNvPr>
          <p:cNvSpPr txBox="1">
            <a:spLocks/>
          </p:cNvSpPr>
          <p:nvPr/>
        </p:nvSpPr>
        <p:spPr>
          <a:xfrm>
            <a:off x="1086394" y="1541718"/>
            <a:ext cx="4329805" cy="1692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000" marR="0" lvl="0" indent="0" algn="l" defTabSz="3175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en-GB" sz="11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tatnett SF in Norway and National Grid in United Kingdom</a:t>
            </a:r>
            <a:endParaRPr lang="sv-SE" sz="1100" b="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xmlns="" id="{11102D7B-9715-411E-8470-902836EAB813}"/>
              </a:ext>
            </a:extLst>
          </p:cNvPr>
          <p:cNvSpPr txBox="1">
            <a:spLocks/>
          </p:cNvSpPr>
          <p:nvPr/>
        </p:nvSpPr>
        <p:spPr>
          <a:xfrm>
            <a:off x="1086394" y="2832807"/>
            <a:ext cx="4093783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>
                <a:solidFill>
                  <a:schemeClr val="accent6"/>
                </a:solidFill>
              </a:rPr>
              <a:t>Our response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xmlns="" id="{5E65A9E1-7C2E-408F-BB60-93972187B085}"/>
              </a:ext>
            </a:extLst>
          </p:cNvPr>
          <p:cNvSpPr txBox="1">
            <a:spLocks/>
          </p:cNvSpPr>
          <p:nvPr/>
        </p:nvSpPr>
        <p:spPr>
          <a:xfrm>
            <a:off x="1086393" y="1881936"/>
            <a:ext cx="4093784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>
                <a:solidFill>
                  <a:srgbClr val="2D2D2D"/>
                </a:solidFill>
              </a:rPr>
              <a:t>Customer needs</a:t>
            </a:r>
          </a:p>
        </p:txBody>
      </p:sp>
      <p:sp>
        <p:nvSpPr>
          <p:cNvPr id="30" name="Content Placeholder 7">
            <a:extLst>
              <a:ext uri="{FF2B5EF4-FFF2-40B4-BE49-F238E27FC236}">
                <a16:creationId xmlns:a16="http://schemas.microsoft.com/office/drawing/2014/main" xmlns="" id="{189B1CBB-C500-4D97-9BB0-8B875A5B98B6}"/>
              </a:ext>
            </a:extLst>
          </p:cNvPr>
          <p:cNvSpPr txBox="1">
            <a:spLocks/>
          </p:cNvSpPr>
          <p:nvPr/>
        </p:nvSpPr>
        <p:spPr>
          <a:xfrm>
            <a:off x="1086397" y="2110065"/>
            <a:ext cx="4329802" cy="55912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1" fontAlgn="auto"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100" dirty="0"/>
              <a:t>Security of supply</a:t>
            </a:r>
          </a:p>
          <a:p>
            <a:pPr marR="0" lvl="1" fontAlgn="auto"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100" dirty="0"/>
              <a:t>Meet EU´s target for CO</a:t>
            </a:r>
            <a:r>
              <a:rPr lang="en-US" sz="1100" baseline="-25000" dirty="0"/>
              <a:t>2</a:t>
            </a:r>
            <a:r>
              <a:rPr lang="en-US" sz="1100" dirty="0"/>
              <a:t> reduction</a:t>
            </a:r>
          </a:p>
          <a:p>
            <a:pPr marR="0" lvl="1" fontAlgn="auto"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100" dirty="0"/>
              <a:t>Energy trade</a:t>
            </a:r>
          </a:p>
        </p:txBody>
      </p:sp>
      <p:sp>
        <p:nvSpPr>
          <p:cNvPr id="36" name="Text Placeholder 8">
            <a:extLst>
              <a:ext uri="{FF2B5EF4-FFF2-40B4-BE49-F238E27FC236}">
                <a16:creationId xmlns:a16="http://schemas.microsoft.com/office/drawing/2014/main" xmlns="" id="{4F77F28C-4774-488B-B6A5-FB297B6823CB}"/>
              </a:ext>
            </a:extLst>
          </p:cNvPr>
          <p:cNvSpPr txBox="1">
            <a:spLocks/>
          </p:cNvSpPr>
          <p:nvPr/>
        </p:nvSpPr>
        <p:spPr>
          <a:xfrm>
            <a:off x="1086394" y="3471357"/>
            <a:ext cx="5607555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>
                <a:solidFill>
                  <a:schemeClr val="accent5">
                    <a:lumMod val="75000"/>
                  </a:schemeClr>
                </a:solidFill>
              </a:rPr>
              <a:t>Customer benefits</a:t>
            </a:r>
          </a:p>
        </p:txBody>
      </p:sp>
      <p:sp>
        <p:nvSpPr>
          <p:cNvPr id="37" name="Content Placeholder 7">
            <a:extLst>
              <a:ext uri="{FF2B5EF4-FFF2-40B4-BE49-F238E27FC236}">
                <a16:creationId xmlns:a16="http://schemas.microsoft.com/office/drawing/2014/main" xmlns="" id="{7CFC413E-317A-4CBA-9486-741860AA9D15}"/>
              </a:ext>
            </a:extLst>
          </p:cNvPr>
          <p:cNvSpPr txBox="1">
            <a:spLocks/>
          </p:cNvSpPr>
          <p:nvPr/>
        </p:nvSpPr>
        <p:spPr>
          <a:xfrm>
            <a:off x="1086403" y="3738673"/>
            <a:ext cx="6018484" cy="36420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1" fontAlgn="auto"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100" dirty="0"/>
              <a:t>Security of supply</a:t>
            </a:r>
          </a:p>
          <a:p>
            <a:pPr marR="0" lvl="1" fontAlgn="auto"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100" dirty="0"/>
              <a:t>Fluctuations in power demand to be met by using the other country’s renewable surplus power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xmlns="" id="{21AC5E90-7C28-484B-89AE-2378D9A6D994}"/>
              </a:ext>
            </a:extLst>
          </p:cNvPr>
          <p:cNvSpPr/>
          <p:nvPr/>
        </p:nvSpPr>
        <p:spPr>
          <a:xfrm>
            <a:off x="885090" y="5210664"/>
            <a:ext cx="1648028" cy="3077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/>
          <a:p>
            <a:pPr lvl="0">
              <a:defRPr/>
            </a:pPr>
            <a:r>
              <a:rPr lang="en-US" sz="1000" kern="0" dirty="0">
                <a:solidFill>
                  <a:schemeClr val="tx1"/>
                </a:solidFill>
              </a:rPr>
              <a:t>HVDC Light</a:t>
            </a:r>
            <a:r>
              <a:rPr lang="en-US" sz="1000" kern="0" baseline="30000" dirty="0">
                <a:solidFill>
                  <a:schemeClr val="tx1"/>
                </a:solidFill>
              </a:rPr>
              <a:t>® </a:t>
            </a:r>
          </a:p>
          <a:p>
            <a:pPr lvl="0">
              <a:defRPr/>
            </a:pPr>
            <a:r>
              <a:rPr lang="en-US" sz="1000" kern="0" dirty="0">
                <a:solidFill>
                  <a:schemeClr val="tx1"/>
                </a:solidFill>
              </a:rPr>
              <a:t>converter stations</a:t>
            </a:r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xmlns="" id="{C7DE6A5C-3131-48AC-A2E6-4A3F57DB0B35}"/>
              </a:ext>
            </a:extLst>
          </p:cNvPr>
          <p:cNvSpPr/>
          <p:nvPr/>
        </p:nvSpPr>
        <p:spPr>
          <a:xfrm>
            <a:off x="314508" y="5091718"/>
            <a:ext cx="524626" cy="52462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xmlns="" id="{A744A81B-5F81-41EB-BEF4-9D6FB182A16E}"/>
              </a:ext>
            </a:extLst>
          </p:cNvPr>
          <p:cNvSpPr/>
          <p:nvPr/>
        </p:nvSpPr>
        <p:spPr>
          <a:xfrm>
            <a:off x="3251775" y="5109508"/>
            <a:ext cx="1588179" cy="51296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/>
          <a:p>
            <a:pPr marL="180975" lvl="1" indent="-180975"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en-US" sz="1000" dirty="0">
                <a:solidFill>
                  <a:schemeClr val="tx1"/>
                </a:solidFill>
              </a:rPr>
              <a:t>Bipolar ±515 </a:t>
            </a:r>
            <a:r>
              <a:rPr lang="en-US" sz="1000" dirty="0" err="1">
                <a:solidFill>
                  <a:schemeClr val="tx1"/>
                </a:solidFill>
              </a:rPr>
              <a:t>kVdc</a:t>
            </a:r>
            <a:endParaRPr lang="en-US" sz="1000" dirty="0">
              <a:solidFill>
                <a:schemeClr val="tx1"/>
              </a:solidFill>
            </a:endParaRPr>
          </a:p>
          <a:p>
            <a:pPr marL="180975" lvl="1" indent="-180975"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en-US" sz="1000" dirty="0" err="1">
                <a:solidFill>
                  <a:schemeClr val="tx1"/>
                </a:solidFill>
              </a:rPr>
              <a:t>Kvilldal</a:t>
            </a:r>
            <a:r>
              <a:rPr lang="en-US" sz="1000" dirty="0">
                <a:solidFill>
                  <a:schemeClr val="tx1"/>
                </a:solidFill>
              </a:rPr>
              <a:t>: 420 kV</a:t>
            </a:r>
          </a:p>
          <a:p>
            <a:pPr marL="180975" lvl="1" indent="-180975"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en-US" sz="1000" dirty="0">
                <a:solidFill>
                  <a:schemeClr val="tx1"/>
                </a:solidFill>
              </a:rPr>
              <a:t>Blyth: 400 kV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xmlns="" id="{DD86857E-6C9B-414B-BC59-E9D84B59F4C8}"/>
              </a:ext>
            </a:extLst>
          </p:cNvPr>
          <p:cNvSpPr/>
          <p:nvPr/>
        </p:nvSpPr>
        <p:spPr>
          <a:xfrm>
            <a:off x="5558937" y="5210664"/>
            <a:ext cx="1612871" cy="3077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/>
          <a:p>
            <a:pPr lvl="0">
              <a:defRPr/>
            </a:pPr>
            <a:r>
              <a:rPr lang="en-US" sz="1000" kern="0" dirty="0">
                <a:solidFill>
                  <a:schemeClr val="tx1"/>
                </a:solidFill>
              </a:rPr>
              <a:t>Land and sea DC </a:t>
            </a:r>
            <a:br>
              <a:rPr lang="en-US" sz="1000" kern="0" dirty="0">
                <a:solidFill>
                  <a:schemeClr val="tx1"/>
                </a:solidFill>
              </a:rPr>
            </a:br>
            <a:r>
              <a:rPr lang="en-US" sz="1000" kern="0" dirty="0">
                <a:solidFill>
                  <a:schemeClr val="tx1"/>
                </a:solidFill>
              </a:rPr>
              <a:t>cable system</a:t>
            </a:r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xmlns="" id="{10906B54-8C95-4B1B-B760-5246BDD1C4AC}"/>
              </a:ext>
            </a:extLst>
          </p:cNvPr>
          <p:cNvSpPr/>
          <p:nvPr/>
        </p:nvSpPr>
        <p:spPr>
          <a:xfrm>
            <a:off x="2690954" y="5091718"/>
            <a:ext cx="524626" cy="52462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xmlns="" id="{2A60ACC0-8675-4D39-AE95-08F4E9503C96}"/>
              </a:ext>
            </a:extLst>
          </p:cNvPr>
          <p:cNvSpPr/>
          <p:nvPr/>
        </p:nvSpPr>
        <p:spPr>
          <a:xfrm>
            <a:off x="4978709" y="5091718"/>
            <a:ext cx="524626" cy="52462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400" dirty="0" err="1">
              <a:solidFill>
                <a:schemeClr val="tx1"/>
              </a:solidFill>
            </a:endParaRP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xmlns="" id="{3A9D9836-9D18-4B8A-83C5-455E7588D49F}"/>
              </a:ext>
            </a:extLst>
          </p:cNvPr>
          <p:cNvGrpSpPr/>
          <p:nvPr/>
        </p:nvGrpSpPr>
        <p:grpSpPr>
          <a:xfrm>
            <a:off x="5117465" y="5230474"/>
            <a:ext cx="247115" cy="247115"/>
            <a:chOff x="120710" y="120710"/>
            <a:chExt cx="672979" cy="672979"/>
          </a:xfrm>
        </p:grpSpPr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xmlns="" id="{436DC853-9DF3-48A5-84D3-0732082C3AC5}"/>
                </a:ext>
              </a:extLst>
            </p:cNvPr>
            <p:cNvGrpSpPr/>
            <p:nvPr/>
          </p:nvGrpSpPr>
          <p:grpSpPr>
            <a:xfrm>
              <a:off x="221657" y="330343"/>
              <a:ext cx="504733" cy="371820"/>
              <a:chOff x="221657" y="330343"/>
              <a:chExt cx="504733" cy="371820"/>
            </a:xfrm>
          </p:grpSpPr>
          <p:sp>
            <p:nvSpPr>
              <p:cNvPr id="61" name="Freeform: Shape 128">
                <a:extLst>
                  <a:ext uri="{FF2B5EF4-FFF2-40B4-BE49-F238E27FC236}">
                    <a16:creationId xmlns:a16="http://schemas.microsoft.com/office/drawing/2014/main" xmlns="" id="{8A0FEAC3-DC6B-4204-A9B9-0A89DC9179BC}"/>
                  </a:ext>
                </a:extLst>
              </p:cNvPr>
              <p:cNvSpPr/>
              <p:nvPr/>
            </p:nvSpPr>
            <p:spPr>
              <a:xfrm>
                <a:off x="221657" y="339428"/>
                <a:ext cx="84122" cy="16824"/>
              </a:xfrm>
              <a:custGeom>
                <a:avLst/>
                <a:gdLst>
                  <a:gd name="connsiteX0" fmla="*/ 0 w 84122"/>
                  <a:gd name="connsiteY0" fmla="*/ 0 h 16824"/>
                  <a:gd name="connsiteX1" fmla="*/ 84122 w 84122"/>
                  <a:gd name="connsiteY1" fmla="*/ 0 h 168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4122" h="16824">
                    <a:moveTo>
                      <a:pt x="0" y="0"/>
                    </a:moveTo>
                    <a:lnTo>
                      <a:pt x="84122" y="0"/>
                    </a:lnTo>
                  </a:path>
                </a:pathLst>
              </a:custGeom>
              <a:ln w="12700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62" name="Freeform: Shape 129">
                <a:extLst>
                  <a:ext uri="{FF2B5EF4-FFF2-40B4-BE49-F238E27FC236}">
                    <a16:creationId xmlns:a16="http://schemas.microsoft.com/office/drawing/2014/main" xmlns="" id="{DEDD5CC2-D52B-428D-9CDE-F7139A56B7A6}"/>
                  </a:ext>
                </a:extLst>
              </p:cNvPr>
              <p:cNvSpPr/>
              <p:nvPr/>
            </p:nvSpPr>
            <p:spPr>
              <a:xfrm>
                <a:off x="221657" y="457200"/>
                <a:ext cx="84122" cy="16824"/>
              </a:xfrm>
              <a:custGeom>
                <a:avLst/>
                <a:gdLst>
                  <a:gd name="connsiteX0" fmla="*/ 0 w 84122"/>
                  <a:gd name="connsiteY0" fmla="*/ 0 h 16824"/>
                  <a:gd name="connsiteX1" fmla="*/ 84122 w 84122"/>
                  <a:gd name="connsiteY1" fmla="*/ 0 h 168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4122" h="16824">
                    <a:moveTo>
                      <a:pt x="0" y="0"/>
                    </a:moveTo>
                    <a:lnTo>
                      <a:pt x="84122" y="0"/>
                    </a:lnTo>
                  </a:path>
                </a:pathLst>
              </a:custGeom>
              <a:ln w="12700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63" name="Freeform: Shape 130">
                <a:extLst>
                  <a:ext uri="{FF2B5EF4-FFF2-40B4-BE49-F238E27FC236}">
                    <a16:creationId xmlns:a16="http://schemas.microsoft.com/office/drawing/2014/main" xmlns="" id="{015D1546-1562-455E-BAE2-465D3EBEF65D}"/>
                  </a:ext>
                </a:extLst>
              </p:cNvPr>
              <p:cNvSpPr/>
              <p:nvPr/>
            </p:nvSpPr>
            <p:spPr>
              <a:xfrm>
                <a:off x="221657" y="574971"/>
                <a:ext cx="84122" cy="16824"/>
              </a:xfrm>
              <a:custGeom>
                <a:avLst/>
                <a:gdLst>
                  <a:gd name="connsiteX0" fmla="*/ 0 w 84122"/>
                  <a:gd name="connsiteY0" fmla="*/ 0 h 16824"/>
                  <a:gd name="connsiteX1" fmla="*/ 84122 w 84122"/>
                  <a:gd name="connsiteY1" fmla="*/ 0 h 168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4122" h="16824">
                    <a:moveTo>
                      <a:pt x="0" y="0"/>
                    </a:moveTo>
                    <a:lnTo>
                      <a:pt x="84122" y="0"/>
                    </a:lnTo>
                  </a:path>
                </a:pathLst>
              </a:custGeom>
              <a:ln w="12700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64" name="Freeform: Shape 131">
                <a:extLst>
                  <a:ext uri="{FF2B5EF4-FFF2-40B4-BE49-F238E27FC236}">
                    <a16:creationId xmlns:a16="http://schemas.microsoft.com/office/drawing/2014/main" xmlns="" id="{0D889F98-9D7A-4DF8-A1B9-B04844DE3882}"/>
                  </a:ext>
                </a:extLst>
              </p:cNvPr>
              <p:cNvSpPr/>
              <p:nvPr/>
            </p:nvSpPr>
            <p:spPr>
              <a:xfrm>
                <a:off x="625444" y="616359"/>
                <a:ext cx="100946" cy="85804"/>
              </a:xfrm>
              <a:custGeom>
                <a:avLst/>
                <a:gdLst>
                  <a:gd name="connsiteX0" fmla="*/ 100947 w 100946"/>
                  <a:gd name="connsiteY0" fmla="*/ 0 h 85804"/>
                  <a:gd name="connsiteX1" fmla="*/ 0 w 100946"/>
                  <a:gd name="connsiteY1" fmla="*/ 85805 h 858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0946" h="85804">
                    <a:moveTo>
                      <a:pt x="100947" y="0"/>
                    </a:moveTo>
                    <a:lnTo>
                      <a:pt x="0" y="85805"/>
                    </a:lnTo>
                  </a:path>
                </a:pathLst>
              </a:custGeom>
              <a:ln w="12700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65" name="Freeform: Shape 132">
                <a:extLst>
                  <a:ext uri="{FF2B5EF4-FFF2-40B4-BE49-F238E27FC236}">
                    <a16:creationId xmlns:a16="http://schemas.microsoft.com/office/drawing/2014/main" xmlns="" id="{79E17E0D-D301-4F61-8FA6-7CC26501FABA}"/>
                  </a:ext>
                </a:extLst>
              </p:cNvPr>
              <p:cNvSpPr/>
              <p:nvPr/>
            </p:nvSpPr>
            <p:spPr>
              <a:xfrm>
                <a:off x="625444" y="515412"/>
                <a:ext cx="100946" cy="84122"/>
              </a:xfrm>
              <a:custGeom>
                <a:avLst/>
                <a:gdLst>
                  <a:gd name="connsiteX0" fmla="*/ 100947 w 100946"/>
                  <a:gd name="connsiteY0" fmla="*/ 0 h 84122"/>
                  <a:gd name="connsiteX1" fmla="*/ 0 w 100946"/>
                  <a:gd name="connsiteY1" fmla="*/ 84122 h 841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0946" h="84122">
                    <a:moveTo>
                      <a:pt x="100947" y="0"/>
                    </a:moveTo>
                    <a:lnTo>
                      <a:pt x="0" y="84122"/>
                    </a:lnTo>
                  </a:path>
                </a:pathLst>
              </a:custGeom>
              <a:ln w="12700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66" name="Freeform: Shape 133">
                <a:extLst>
                  <a:ext uri="{FF2B5EF4-FFF2-40B4-BE49-F238E27FC236}">
                    <a16:creationId xmlns:a16="http://schemas.microsoft.com/office/drawing/2014/main" xmlns="" id="{E2A63070-8452-4B4E-97C2-543E055FC8E6}"/>
                  </a:ext>
                </a:extLst>
              </p:cNvPr>
              <p:cNvSpPr/>
              <p:nvPr/>
            </p:nvSpPr>
            <p:spPr>
              <a:xfrm>
                <a:off x="625444" y="431290"/>
                <a:ext cx="100946" cy="85804"/>
              </a:xfrm>
              <a:custGeom>
                <a:avLst/>
                <a:gdLst>
                  <a:gd name="connsiteX0" fmla="*/ 100947 w 100946"/>
                  <a:gd name="connsiteY0" fmla="*/ 0 h 85804"/>
                  <a:gd name="connsiteX1" fmla="*/ 0 w 100946"/>
                  <a:gd name="connsiteY1" fmla="*/ 85805 h 858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0946" h="85804">
                    <a:moveTo>
                      <a:pt x="100947" y="0"/>
                    </a:moveTo>
                    <a:lnTo>
                      <a:pt x="0" y="85805"/>
                    </a:lnTo>
                  </a:path>
                </a:pathLst>
              </a:custGeom>
              <a:ln w="12700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67" name="Freeform: Shape 134">
                <a:extLst>
                  <a:ext uri="{FF2B5EF4-FFF2-40B4-BE49-F238E27FC236}">
                    <a16:creationId xmlns:a16="http://schemas.microsoft.com/office/drawing/2014/main" xmlns="" id="{C1597EA6-5FD9-4C1F-8A06-38475B9F5BB6}"/>
                  </a:ext>
                </a:extLst>
              </p:cNvPr>
              <p:cNvSpPr/>
              <p:nvPr/>
            </p:nvSpPr>
            <p:spPr>
              <a:xfrm>
                <a:off x="625444" y="330343"/>
                <a:ext cx="100946" cy="84122"/>
              </a:xfrm>
              <a:custGeom>
                <a:avLst/>
                <a:gdLst>
                  <a:gd name="connsiteX0" fmla="*/ 100947 w 100946"/>
                  <a:gd name="connsiteY0" fmla="*/ 0 h 84122"/>
                  <a:gd name="connsiteX1" fmla="*/ 0 w 100946"/>
                  <a:gd name="connsiteY1" fmla="*/ 84122 h 841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0946" h="84122">
                    <a:moveTo>
                      <a:pt x="100947" y="0"/>
                    </a:moveTo>
                    <a:lnTo>
                      <a:pt x="0" y="84122"/>
                    </a:lnTo>
                  </a:path>
                </a:pathLst>
              </a:custGeom>
              <a:ln w="12700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68" name="Freeform: Shape 135">
                <a:extLst>
                  <a:ext uri="{FF2B5EF4-FFF2-40B4-BE49-F238E27FC236}">
                    <a16:creationId xmlns:a16="http://schemas.microsoft.com/office/drawing/2014/main" xmlns="" id="{1C54DEC8-0AB8-4791-94F3-7CAAEEDF5601}"/>
                  </a:ext>
                </a:extLst>
              </p:cNvPr>
              <p:cNvSpPr/>
              <p:nvPr/>
            </p:nvSpPr>
            <p:spPr>
              <a:xfrm>
                <a:off x="389902" y="616359"/>
                <a:ext cx="134595" cy="16824"/>
              </a:xfrm>
              <a:custGeom>
                <a:avLst/>
                <a:gdLst>
                  <a:gd name="connsiteX0" fmla="*/ 0 w 134595"/>
                  <a:gd name="connsiteY0" fmla="*/ 0 h 16824"/>
                  <a:gd name="connsiteX1" fmla="*/ 134596 w 134595"/>
                  <a:gd name="connsiteY1" fmla="*/ 0 h 168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4595" h="16824">
                    <a:moveTo>
                      <a:pt x="0" y="0"/>
                    </a:moveTo>
                    <a:lnTo>
                      <a:pt x="134596" y="0"/>
                    </a:lnTo>
                  </a:path>
                </a:pathLst>
              </a:custGeom>
              <a:ln w="12700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</p:grpSp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xmlns="" id="{B4EF8BAB-8F2D-4270-8635-279F772CAF2E}"/>
                </a:ext>
              </a:extLst>
            </p:cNvPr>
            <p:cNvGrpSpPr/>
            <p:nvPr/>
          </p:nvGrpSpPr>
          <p:grpSpPr>
            <a:xfrm>
              <a:off x="120710" y="120710"/>
              <a:ext cx="672979" cy="672979"/>
              <a:chOff x="120710" y="120710"/>
              <a:chExt cx="672979" cy="672979"/>
            </a:xfrm>
          </p:grpSpPr>
          <p:sp>
            <p:nvSpPr>
              <p:cNvPr id="52" name="Freeform: Shape 137">
                <a:extLst>
                  <a:ext uri="{FF2B5EF4-FFF2-40B4-BE49-F238E27FC236}">
                    <a16:creationId xmlns:a16="http://schemas.microsoft.com/office/drawing/2014/main" xmlns="" id="{9B702165-99F2-4588-BAEF-10828D60D4AF}"/>
                  </a:ext>
                </a:extLst>
              </p:cNvPr>
              <p:cNvSpPr/>
              <p:nvPr/>
            </p:nvSpPr>
            <p:spPr>
              <a:xfrm>
                <a:off x="625444" y="128449"/>
                <a:ext cx="100946" cy="665240"/>
              </a:xfrm>
              <a:custGeom>
                <a:avLst/>
                <a:gdLst>
                  <a:gd name="connsiteX0" fmla="*/ 100947 w 100946"/>
                  <a:gd name="connsiteY0" fmla="*/ 665240 h 665240"/>
                  <a:gd name="connsiteX1" fmla="*/ 100947 w 100946"/>
                  <a:gd name="connsiteY1" fmla="*/ 151420 h 665240"/>
                  <a:gd name="connsiteX2" fmla="*/ 67298 w 100946"/>
                  <a:gd name="connsiteY2" fmla="*/ 0 h 665240"/>
                  <a:gd name="connsiteX3" fmla="*/ 33649 w 100946"/>
                  <a:gd name="connsiteY3" fmla="*/ 0 h 665240"/>
                  <a:gd name="connsiteX4" fmla="*/ 0 w 100946"/>
                  <a:gd name="connsiteY4" fmla="*/ 151420 h 665240"/>
                  <a:gd name="connsiteX5" fmla="*/ 0 w 100946"/>
                  <a:gd name="connsiteY5" fmla="*/ 665240 h 6652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00946" h="665240">
                    <a:moveTo>
                      <a:pt x="100947" y="665240"/>
                    </a:moveTo>
                    <a:lnTo>
                      <a:pt x="100947" y="151420"/>
                    </a:lnTo>
                    <a:lnTo>
                      <a:pt x="67298" y="0"/>
                    </a:lnTo>
                    <a:lnTo>
                      <a:pt x="33649" y="0"/>
                    </a:lnTo>
                    <a:lnTo>
                      <a:pt x="0" y="151420"/>
                    </a:lnTo>
                    <a:lnTo>
                      <a:pt x="0" y="665240"/>
                    </a:lnTo>
                  </a:path>
                </a:pathLst>
              </a:custGeom>
              <a:noFill/>
              <a:ln w="12700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53" name="Freeform: Shape 138">
                <a:extLst>
                  <a:ext uri="{FF2B5EF4-FFF2-40B4-BE49-F238E27FC236}">
                    <a16:creationId xmlns:a16="http://schemas.microsoft.com/office/drawing/2014/main" xmlns="" id="{FDF59AB2-E722-4A76-AC4B-6025753E86B7}"/>
                  </a:ext>
                </a:extLst>
              </p:cNvPr>
              <p:cNvSpPr/>
              <p:nvPr/>
            </p:nvSpPr>
            <p:spPr>
              <a:xfrm>
                <a:off x="305779" y="237808"/>
                <a:ext cx="16824" cy="555881"/>
              </a:xfrm>
              <a:custGeom>
                <a:avLst/>
                <a:gdLst>
                  <a:gd name="connsiteX0" fmla="*/ 0 w 16824"/>
                  <a:gd name="connsiteY0" fmla="*/ 0 h 555881"/>
                  <a:gd name="connsiteX1" fmla="*/ 0 w 16824"/>
                  <a:gd name="connsiteY1" fmla="*/ 555881 h 5558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824" h="555881">
                    <a:moveTo>
                      <a:pt x="0" y="0"/>
                    </a:moveTo>
                    <a:lnTo>
                      <a:pt x="0" y="555881"/>
                    </a:lnTo>
                  </a:path>
                </a:pathLst>
              </a:custGeom>
              <a:ln w="12700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54" name="Freeform: Shape 139">
                <a:extLst>
                  <a:ext uri="{FF2B5EF4-FFF2-40B4-BE49-F238E27FC236}">
                    <a16:creationId xmlns:a16="http://schemas.microsoft.com/office/drawing/2014/main" xmlns="" id="{20AB0506-EC07-429D-9B0C-DF390DA1DA1D}"/>
                  </a:ext>
                </a:extLst>
              </p:cNvPr>
              <p:cNvSpPr/>
              <p:nvPr/>
            </p:nvSpPr>
            <p:spPr>
              <a:xfrm>
                <a:off x="221657" y="237808"/>
                <a:ext cx="16824" cy="555881"/>
              </a:xfrm>
              <a:custGeom>
                <a:avLst/>
                <a:gdLst>
                  <a:gd name="connsiteX0" fmla="*/ 0 w 16824"/>
                  <a:gd name="connsiteY0" fmla="*/ 555881 h 555881"/>
                  <a:gd name="connsiteX1" fmla="*/ 0 w 16824"/>
                  <a:gd name="connsiteY1" fmla="*/ 0 h 5558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824" h="555881">
                    <a:moveTo>
                      <a:pt x="0" y="555881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55" name="Freeform: Shape 140">
                <a:extLst>
                  <a:ext uri="{FF2B5EF4-FFF2-40B4-BE49-F238E27FC236}">
                    <a16:creationId xmlns:a16="http://schemas.microsoft.com/office/drawing/2014/main" xmlns="" id="{737831AE-EBE9-499F-9547-552CA7788268}"/>
                  </a:ext>
                </a:extLst>
              </p:cNvPr>
              <p:cNvSpPr/>
              <p:nvPr/>
            </p:nvSpPr>
            <p:spPr>
              <a:xfrm>
                <a:off x="221657" y="120710"/>
                <a:ext cx="84122" cy="100273"/>
              </a:xfrm>
              <a:custGeom>
                <a:avLst/>
                <a:gdLst>
                  <a:gd name="connsiteX0" fmla="*/ 0 w 84122"/>
                  <a:gd name="connsiteY0" fmla="*/ 100274 h 100273"/>
                  <a:gd name="connsiteX1" fmla="*/ 16824 w 84122"/>
                  <a:gd name="connsiteY1" fmla="*/ 0 h 100273"/>
                  <a:gd name="connsiteX2" fmla="*/ 67298 w 84122"/>
                  <a:gd name="connsiteY2" fmla="*/ 0 h 100273"/>
                  <a:gd name="connsiteX3" fmla="*/ 84122 w 84122"/>
                  <a:gd name="connsiteY3" fmla="*/ 100274 h 1002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4122" h="100273">
                    <a:moveTo>
                      <a:pt x="0" y="100274"/>
                    </a:moveTo>
                    <a:lnTo>
                      <a:pt x="16824" y="0"/>
                    </a:lnTo>
                    <a:lnTo>
                      <a:pt x="67298" y="0"/>
                    </a:lnTo>
                    <a:lnTo>
                      <a:pt x="84122" y="100274"/>
                    </a:lnTo>
                  </a:path>
                </a:pathLst>
              </a:custGeom>
              <a:noFill/>
              <a:ln w="12700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56" name="Freeform: Shape 141">
                <a:extLst>
                  <a:ext uri="{FF2B5EF4-FFF2-40B4-BE49-F238E27FC236}">
                    <a16:creationId xmlns:a16="http://schemas.microsoft.com/office/drawing/2014/main" xmlns="" id="{6FC168CE-7AF6-4251-ADED-D5A2E4B716B8}"/>
                  </a:ext>
                </a:extLst>
              </p:cNvPr>
              <p:cNvSpPr/>
              <p:nvPr/>
            </p:nvSpPr>
            <p:spPr>
              <a:xfrm>
                <a:off x="423551" y="608620"/>
                <a:ext cx="16824" cy="185069"/>
              </a:xfrm>
              <a:custGeom>
                <a:avLst/>
                <a:gdLst>
                  <a:gd name="connsiteX0" fmla="*/ 0 w 16824"/>
                  <a:gd name="connsiteY0" fmla="*/ 185069 h 185069"/>
                  <a:gd name="connsiteX1" fmla="*/ 0 w 16824"/>
                  <a:gd name="connsiteY1" fmla="*/ 0 h 1850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824" h="185069">
                    <a:moveTo>
                      <a:pt x="0" y="185069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57" name="Freeform: Shape 142">
                <a:extLst>
                  <a:ext uri="{FF2B5EF4-FFF2-40B4-BE49-F238E27FC236}">
                    <a16:creationId xmlns:a16="http://schemas.microsoft.com/office/drawing/2014/main" xmlns="" id="{ED167542-2709-43A2-9A71-E29E70068B43}"/>
                  </a:ext>
                </a:extLst>
              </p:cNvPr>
              <p:cNvSpPr/>
              <p:nvPr/>
            </p:nvSpPr>
            <p:spPr>
              <a:xfrm>
                <a:off x="490848" y="608620"/>
                <a:ext cx="16824" cy="185069"/>
              </a:xfrm>
              <a:custGeom>
                <a:avLst/>
                <a:gdLst>
                  <a:gd name="connsiteX0" fmla="*/ 0 w 16824"/>
                  <a:gd name="connsiteY0" fmla="*/ 185069 h 185069"/>
                  <a:gd name="connsiteX1" fmla="*/ 0 w 16824"/>
                  <a:gd name="connsiteY1" fmla="*/ 0 h 1850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824" h="185069">
                    <a:moveTo>
                      <a:pt x="0" y="185069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58" name="Freeform: Shape 143">
                <a:extLst>
                  <a:ext uri="{FF2B5EF4-FFF2-40B4-BE49-F238E27FC236}">
                    <a16:creationId xmlns:a16="http://schemas.microsoft.com/office/drawing/2014/main" xmlns="" id="{CDBAAEB8-8B37-4CBF-94F3-7770FF08B3B1}"/>
                  </a:ext>
                </a:extLst>
              </p:cNvPr>
              <p:cNvSpPr/>
              <p:nvPr/>
            </p:nvSpPr>
            <p:spPr>
              <a:xfrm>
                <a:off x="423551" y="406726"/>
                <a:ext cx="67297" cy="201893"/>
              </a:xfrm>
              <a:custGeom>
                <a:avLst/>
                <a:gdLst>
                  <a:gd name="connsiteX0" fmla="*/ 0 w 67297"/>
                  <a:gd name="connsiteY0" fmla="*/ 201894 h 201893"/>
                  <a:gd name="connsiteX1" fmla="*/ 0 w 67297"/>
                  <a:gd name="connsiteY1" fmla="*/ 0 h 201893"/>
                  <a:gd name="connsiteX2" fmla="*/ 67298 w 67297"/>
                  <a:gd name="connsiteY2" fmla="*/ 0 h 201893"/>
                  <a:gd name="connsiteX3" fmla="*/ 67298 w 67297"/>
                  <a:gd name="connsiteY3" fmla="*/ 201894 h 2018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7297" h="201893">
                    <a:moveTo>
                      <a:pt x="0" y="201894"/>
                    </a:moveTo>
                    <a:lnTo>
                      <a:pt x="0" y="0"/>
                    </a:lnTo>
                    <a:lnTo>
                      <a:pt x="67298" y="0"/>
                    </a:lnTo>
                    <a:lnTo>
                      <a:pt x="67298" y="201894"/>
                    </a:lnTo>
                  </a:path>
                </a:pathLst>
              </a:custGeom>
              <a:noFill/>
              <a:ln w="12700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59" name="Freeform: Shape 144">
                <a:extLst>
                  <a:ext uri="{FF2B5EF4-FFF2-40B4-BE49-F238E27FC236}">
                    <a16:creationId xmlns:a16="http://schemas.microsoft.com/office/drawing/2014/main" xmlns="" id="{CC5EBF89-821E-4556-AFE4-5A61C1439202}"/>
                  </a:ext>
                </a:extLst>
              </p:cNvPr>
              <p:cNvSpPr/>
              <p:nvPr/>
            </p:nvSpPr>
            <p:spPr>
              <a:xfrm>
                <a:off x="120710" y="229396"/>
                <a:ext cx="336489" cy="168244"/>
              </a:xfrm>
              <a:custGeom>
                <a:avLst/>
                <a:gdLst>
                  <a:gd name="connsiteX0" fmla="*/ 0 w 336489"/>
                  <a:gd name="connsiteY0" fmla="*/ 0 h 168244"/>
                  <a:gd name="connsiteX1" fmla="*/ 336490 w 336489"/>
                  <a:gd name="connsiteY1" fmla="*/ 0 h 168244"/>
                  <a:gd name="connsiteX2" fmla="*/ 336490 w 336489"/>
                  <a:gd name="connsiteY2" fmla="*/ 168245 h 1682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36489" h="168244">
                    <a:moveTo>
                      <a:pt x="0" y="0"/>
                    </a:moveTo>
                    <a:lnTo>
                      <a:pt x="336490" y="0"/>
                    </a:lnTo>
                    <a:lnTo>
                      <a:pt x="336490" y="168245"/>
                    </a:lnTo>
                  </a:path>
                </a:pathLst>
              </a:custGeom>
              <a:noFill/>
              <a:ln w="12700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60" name="Freeform: Shape 145">
                <a:extLst>
                  <a:ext uri="{FF2B5EF4-FFF2-40B4-BE49-F238E27FC236}">
                    <a16:creationId xmlns:a16="http://schemas.microsoft.com/office/drawing/2014/main" xmlns="" id="{5AAB1BAC-08A2-4180-BA8B-93DB76D6CA7C}"/>
                  </a:ext>
                </a:extLst>
              </p:cNvPr>
              <p:cNvSpPr/>
              <p:nvPr/>
            </p:nvSpPr>
            <p:spPr>
              <a:xfrm>
                <a:off x="457200" y="279869"/>
                <a:ext cx="336489" cy="16824"/>
              </a:xfrm>
              <a:custGeom>
                <a:avLst/>
                <a:gdLst>
                  <a:gd name="connsiteX0" fmla="*/ 0 w 336489"/>
                  <a:gd name="connsiteY0" fmla="*/ 0 h 16824"/>
                  <a:gd name="connsiteX1" fmla="*/ 336490 w 336489"/>
                  <a:gd name="connsiteY1" fmla="*/ 0 h 168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36489" h="16824">
                    <a:moveTo>
                      <a:pt x="0" y="0"/>
                    </a:moveTo>
                    <a:lnTo>
                      <a:pt x="336490" y="0"/>
                    </a:lnTo>
                  </a:path>
                </a:pathLst>
              </a:custGeom>
              <a:ln w="12700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</p:grpSp>
      </p:grpSp>
      <p:sp>
        <p:nvSpPr>
          <p:cNvPr id="158" name="TextBox 157">
            <a:extLst>
              <a:ext uri="{FF2B5EF4-FFF2-40B4-BE49-F238E27FC236}">
                <a16:creationId xmlns:a16="http://schemas.microsoft.com/office/drawing/2014/main" xmlns="" id="{7648FB5C-6332-4CEB-9E7C-CFC257B5377A}"/>
              </a:ext>
            </a:extLst>
          </p:cNvPr>
          <p:cNvSpPr txBox="1"/>
          <p:nvPr/>
        </p:nvSpPr>
        <p:spPr>
          <a:xfrm>
            <a:off x="996902" y="3044878"/>
            <a:ext cx="6107986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0975" lvl="1" indent="-180975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100" dirty="0"/>
              <a:t>Two 1,400 MW, ±515 kV HVDC Light</a:t>
            </a:r>
            <a:r>
              <a:rPr lang="en-US" sz="1100" baseline="30000" dirty="0"/>
              <a:t>®</a:t>
            </a:r>
            <a:r>
              <a:rPr lang="en-US" sz="1100" dirty="0"/>
              <a:t> converter stations</a:t>
            </a:r>
          </a:p>
        </p:txBody>
      </p:sp>
      <p:pic>
        <p:nvPicPr>
          <p:cNvPr id="160" name="Graphic 159">
            <a:extLst>
              <a:ext uri="{FF2B5EF4-FFF2-40B4-BE49-F238E27FC236}">
                <a16:creationId xmlns:a16="http://schemas.microsoft.com/office/drawing/2014/main" xmlns="" id="{57365E58-A57D-48F6-B225-A21CE6B1B35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332350" y="5102111"/>
            <a:ext cx="466725" cy="466725"/>
          </a:xfrm>
          <a:prstGeom prst="rect">
            <a:avLst/>
          </a:prstGeom>
        </p:spPr>
      </p:pic>
      <p:grpSp>
        <p:nvGrpSpPr>
          <p:cNvPr id="161" name="Group 160">
            <a:extLst>
              <a:ext uri="{FF2B5EF4-FFF2-40B4-BE49-F238E27FC236}">
                <a16:creationId xmlns:a16="http://schemas.microsoft.com/office/drawing/2014/main" xmlns="" id="{0444AFA5-8B97-4814-83C1-0D6ED4EA37EE}"/>
              </a:ext>
            </a:extLst>
          </p:cNvPr>
          <p:cNvGrpSpPr/>
          <p:nvPr/>
        </p:nvGrpSpPr>
        <p:grpSpPr>
          <a:xfrm>
            <a:off x="2796852" y="5197617"/>
            <a:ext cx="312832" cy="312830"/>
            <a:chOff x="120710" y="120710"/>
            <a:chExt cx="672979" cy="672979"/>
          </a:xfrm>
        </p:grpSpPr>
        <p:grpSp>
          <p:nvGrpSpPr>
            <p:cNvPr id="162" name="Group 161">
              <a:extLst>
                <a:ext uri="{FF2B5EF4-FFF2-40B4-BE49-F238E27FC236}">
                  <a16:creationId xmlns:a16="http://schemas.microsoft.com/office/drawing/2014/main" xmlns="" id="{0A5FDCAE-B046-419C-9C5B-D3275AA08697}"/>
                </a:ext>
              </a:extLst>
            </p:cNvPr>
            <p:cNvGrpSpPr/>
            <p:nvPr/>
          </p:nvGrpSpPr>
          <p:grpSpPr>
            <a:xfrm>
              <a:off x="339428" y="238481"/>
              <a:ext cx="235543" cy="311253"/>
              <a:chOff x="339428" y="238481"/>
              <a:chExt cx="235543" cy="311253"/>
            </a:xfrm>
          </p:grpSpPr>
          <p:sp>
            <p:nvSpPr>
              <p:cNvPr id="172" name="Freeform: Shape 333">
                <a:extLst>
                  <a:ext uri="{FF2B5EF4-FFF2-40B4-BE49-F238E27FC236}">
                    <a16:creationId xmlns:a16="http://schemas.microsoft.com/office/drawing/2014/main" xmlns="" id="{8A0812AD-8DF8-49E4-9140-87C36736394E}"/>
                  </a:ext>
                </a:extLst>
              </p:cNvPr>
              <p:cNvSpPr/>
              <p:nvPr/>
            </p:nvSpPr>
            <p:spPr>
              <a:xfrm>
                <a:off x="339428" y="238481"/>
                <a:ext cx="168" cy="50473"/>
              </a:xfrm>
              <a:custGeom>
                <a:avLst/>
                <a:gdLst>
                  <a:gd name="connsiteX0" fmla="*/ 168 w 168"/>
                  <a:gd name="connsiteY0" fmla="*/ 0 h 50473"/>
                  <a:gd name="connsiteX1" fmla="*/ 0 w 168"/>
                  <a:gd name="connsiteY1" fmla="*/ 50473 h 504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8" h="50473">
                    <a:moveTo>
                      <a:pt x="168" y="0"/>
                    </a:moveTo>
                    <a:lnTo>
                      <a:pt x="0" y="50473"/>
                    </a:lnTo>
                  </a:path>
                </a:pathLst>
              </a:custGeom>
              <a:ln w="9525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73" name="Freeform: Shape 334">
                <a:extLst>
                  <a:ext uri="{FF2B5EF4-FFF2-40B4-BE49-F238E27FC236}">
                    <a16:creationId xmlns:a16="http://schemas.microsoft.com/office/drawing/2014/main" xmlns="" id="{DF223BDC-308B-4089-8FAE-3DA22BFD7CCD}"/>
                  </a:ext>
                </a:extLst>
              </p:cNvPr>
              <p:cNvSpPr/>
              <p:nvPr/>
            </p:nvSpPr>
            <p:spPr>
              <a:xfrm>
                <a:off x="457031" y="238481"/>
                <a:ext cx="168" cy="50473"/>
              </a:xfrm>
              <a:custGeom>
                <a:avLst/>
                <a:gdLst>
                  <a:gd name="connsiteX0" fmla="*/ 168 w 168"/>
                  <a:gd name="connsiteY0" fmla="*/ 0 h 50473"/>
                  <a:gd name="connsiteX1" fmla="*/ 0 w 168"/>
                  <a:gd name="connsiteY1" fmla="*/ 50473 h 504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8" h="50473">
                    <a:moveTo>
                      <a:pt x="168" y="0"/>
                    </a:moveTo>
                    <a:lnTo>
                      <a:pt x="0" y="50473"/>
                    </a:lnTo>
                  </a:path>
                </a:pathLst>
              </a:custGeom>
              <a:ln w="9525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74" name="Freeform: Shape 335">
                <a:extLst>
                  <a:ext uri="{FF2B5EF4-FFF2-40B4-BE49-F238E27FC236}">
                    <a16:creationId xmlns:a16="http://schemas.microsoft.com/office/drawing/2014/main" xmlns="" id="{D8C7B927-A032-4E93-8283-342754DAE6F4}"/>
                  </a:ext>
                </a:extLst>
              </p:cNvPr>
              <p:cNvSpPr/>
              <p:nvPr/>
            </p:nvSpPr>
            <p:spPr>
              <a:xfrm>
                <a:off x="574803" y="238481"/>
                <a:ext cx="168" cy="50473"/>
              </a:xfrm>
              <a:custGeom>
                <a:avLst/>
                <a:gdLst>
                  <a:gd name="connsiteX0" fmla="*/ 168 w 168"/>
                  <a:gd name="connsiteY0" fmla="*/ 0 h 50473"/>
                  <a:gd name="connsiteX1" fmla="*/ 0 w 168"/>
                  <a:gd name="connsiteY1" fmla="*/ 50473 h 504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8" h="50473">
                    <a:moveTo>
                      <a:pt x="168" y="0"/>
                    </a:moveTo>
                    <a:lnTo>
                      <a:pt x="0" y="50473"/>
                    </a:lnTo>
                  </a:path>
                </a:pathLst>
              </a:custGeom>
              <a:ln w="9525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75" name="Freeform: Shape 336">
                <a:extLst>
                  <a:ext uri="{FF2B5EF4-FFF2-40B4-BE49-F238E27FC236}">
                    <a16:creationId xmlns:a16="http://schemas.microsoft.com/office/drawing/2014/main" xmlns="" id="{65B474C3-01BE-4C67-A02B-7DE7491CB0A9}"/>
                  </a:ext>
                </a:extLst>
              </p:cNvPr>
              <p:cNvSpPr/>
              <p:nvPr/>
            </p:nvSpPr>
            <p:spPr>
              <a:xfrm>
                <a:off x="339428" y="389902"/>
                <a:ext cx="168" cy="159832"/>
              </a:xfrm>
              <a:custGeom>
                <a:avLst/>
                <a:gdLst>
                  <a:gd name="connsiteX0" fmla="*/ 168 w 168"/>
                  <a:gd name="connsiteY0" fmla="*/ 0 h 159832"/>
                  <a:gd name="connsiteX1" fmla="*/ 0 w 168"/>
                  <a:gd name="connsiteY1" fmla="*/ 159833 h 1598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8" h="159832">
                    <a:moveTo>
                      <a:pt x="168" y="0"/>
                    </a:moveTo>
                    <a:lnTo>
                      <a:pt x="0" y="159833"/>
                    </a:lnTo>
                  </a:path>
                </a:pathLst>
              </a:custGeom>
              <a:ln w="9525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76" name="Freeform: Shape 337">
                <a:extLst>
                  <a:ext uri="{FF2B5EF4-FFF2-40B4-BE49-F238E27FC236}">
                    <a16:creationId xmlns:a16="http://schemas.microsoft.com/office/drawing/2014/main" xmlns="" id="{3CE362FE-A130-47F7-A1D4-C035845CB37B}"/>
                  </a:ext>
                </a:extLst>
              </p:cNvPr>
              <p:cNvSpPr/>
              <p:nvPr/>
            </p:nvSpPr>
            <p:spPr>
              <a:xfrm>
                <a:off x="457031" y="389902"/>
                <a:ext cx="168" cy="159832"/>
              </a:xfrm>
              <a:custGeom>
                <a:avLst/>
                <a:gdLst>
                  <a:gd name="connsiteX0" fmla="*/ 168 w 168"/>
                  <a:gd name="connsiteY0" fmla="*/ 0 h 159832"/>
                  <a:gd name="connsiteX1" fmla="*/ 0 w 168"/>
                  <a:gd name="connsiteY1" fmla="*/ 159833 h 1598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8" h="159832">
                    <a:moveTo>
                      <a:pt x="168" y="0"/>
                    </a:moveTo>
                    <a:lnTo>
                      <a:pt x="0" y="159833"/>
                    </a:lnTo>
                  </a:path>
                </a:pathLst>
              </a:custGeom>
              <a:ln w="9525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77" name="Freeform: Shape 338">
                <a:extLst>
                  <a:ext uri="{FF2B5EF4-FFF2-40B4-BE49-F238E27FC236}">
                    <a16:creationId xmlns:a16="http://schemas.microsoft.com/office/drawing/2014/main" xmlns="" id="{BD4EF01B-F2A2-4860-B4AE-E3805FFE1BFF}"/>
                  </a:ext>
                </a:extLst>
              </p:cNvPr>
              <p:cNvSpPr/>
              <p:nvPr/>
            </p:nvSpPr>
            <p:spPr>
              <a:xfrm>
                <a:off x="574803" y="389902"/>
                <a:ext cx="168" cy="159832"/>
              </a:xfrm>
              <a:custGeom>
                <a:avLst/>
                <a:gdLst>
                  <a:gd name="connsiteX0" fmla="*/ 168 w 168"/>
                  <a:gd name="connsiteY0" fmla="*/ 0 h 159832"/>
                  <a:gd name="connsiteX1" fmla="*/ 0 w 168"/>
                  <a:gd name="connsiteY1" fmla="*/ 159833 h 1598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8" h="159832">
                    <a:moveTo>
                      <a:pt x="168" y="0"/>
                    </a:moveTo>
                    <a:lnTo>
                      <a:pt x="0" y="159833"/>
                    </a:lnTo>
                  </a:path>
                </a:pathLst>
              </a:custGeom>
              <a:ln w="9525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</p:grpSp>
        <p:grpSp>
          <p:nvGrpSpPr>
            <p:cNvPr id="163" name="Group 162">
              <a:extLst>
                <a:ext uri="{FF2B5EF4-FFF2-40B4-BE49-F238E27FC236}">
                  <a16:creationId xmlns:a16="http://schemas.microsoft.com/office/drawing/2014/main" xmlns="" id="{8C1E21F9-0FC8-47BE-B14C-DB2D85B957B4}"/>
                </a:ext>
              </a:extLst>
            </p:cNvPr>
            <p:cNvGrpSpPr/>
            <p:nvPr/>
          </p:nvGrpSpPr>
          <p:grpSpPr>
            <a:xfrm>
              <a:off x="120710" y="120710"/>
              <a:ext cx="672979" cy="672979"/>
              <a:chOff x="120710" y="120710"/>
              <a:chExt cx="672979" cy="672979"/>
            </a:xfrm>
          </p:grpSpPr>
          <p:sp>
            <p:nvSpPr>
              <p:cNvPr id="164" name="Freeform: Shape 340">
                <a:extLst>
                  <a:ext uri="{FF2B5EF4-FFF2-40B4-BE49-F238E27FC236}">
                    <a16:creationId xmlns:a16="http://schemas.microsoft.com/office/drawing/2014/main" xmlns="" id="{7EADA994-897C-4760-B1F3-36144BAD2F9D}"/>
                  </a:ext>
                </a:extLst>
              </p:cNvPr>
              <p:cNvSpPr/>
              <p:nvPr/>
            </p:nvSpPr>
            <p:spPr>
              <a:xfrm>
                <a:off x="171183" y="171183"/>
                <a:ext cx="572032" cy="622506"/>
              </a:xfrm>
              <a:custGeom>
                <a:avLst/>
                <a:gdLst>
                  <a:gd name="connsiteX0" fmla="*/ 0 w 572032"/>
                  <a:gd name="connsiteY0" fmla="*/ 622506 h 622506"/>
                  <a:gd name="connsiteX1" fmla="*/ 0 w 572032"/>
                  <a:gd name="connsiteY1" fmla="*/ 0 h 622506"/>
                  <a:gd name="connsiteX2" fmla="*/ 572033 w 572032"/>
                  <a:gd name="connsiteY2" fmla="*/ 0 h 622506"/>
                  <a:gd name="connsiteX3" fmla="*/ 572033 w 572032"/>
                  <a:gd name="connsiteY3" fmla="*/ 622506 h 62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72032" h="622506">
                    <a:moveTo>
                      <a:pt x="0" y="622506"/>
                    </a:moveTo>
                    <a:lnTo>
                      <a:pt x="0" y="0"/>
                    </a:lnTo>
                    <a:lnTo>
                      <a:pt x="572033" y="0"/>
                    </a:lnTo>
                    <a:lnTo>
                      <a:pt x="572033" y="622506"/>
                    </a:lnTo>
                  </a:path>
                </a:pathLst>
              </a:custGeom>
              <a:noFill/>
              <a:ln w="9525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65" name="Freeform: Shape 341">
                <a:extLst>
                  <a:ext uri="{FF2B5EF4-FFF2-40B4-BE49-F238E27FC236}">
                    <a16:creationId xmlns:a16="http://schemas.microsoft.com/office/drawing/2014/main" xmlns="" id="{3C96C642-B644-4E2A-93A1-6FE05C769285}"/>
                  </a:ext>
                </a:extLst>
              </p:cNvPr>
              <p:cNvSpPr/>
              <p:nvPr/>
            </p:nvSpPr>
            <p:spPr>
              <a:xfrm>
                <a:off x="272130" y="171183"/>
                <a:ext cx="370138" cy="67297"/>
              </a:xfrm>
              <a:custGeom>
                <a:avLst/>
                <a:gdLst>
                  <a:gd name="connsiteX0" fmla="*/ 0 w 370138"/>
                  <a:gd name="connsiteY0" fmla="*/ 0 h 67297"/>
                  <a:gd name="connsiteX1" fmla="*/ 0 w 370138"/>
                  <a:gd name="connsiteY1" fmla="*/ 67298 h 67297"/>
                  <a:gd name="connsiteX2" fmla="*/ 370139 w 370138"/>
                  <a:gd name="connsiteY2" fmla="*/ 67298 h 67297"/>
                  <a:gd name="connsiteX3" fmla="*/ 370139 w 370138"/>
                  <a:gd name="connsiteY3" fmla="*/ 0 h 672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70138" h="67297">
                    <a:moveTo>
                      <a:pt x="0" y="0"/>
                    </a:moveTo>
                    <a:lnTo>
                      <a:pt x="0" y="67298"/>
                    </a:lnTo>
                    <a:lnTo>
                      <a:pt x="370139" y="67298"/>
                    </a:lnTo>
                    <a:lnTo>
                      <a:pt x="370139" y="0"/>
                    </a:lnTo>
                  </a:path>
                </a:pathLst>
              </a:custGeom>
              <a:noFill/>
              <a:ln w="9525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66" name="Freeform: Shape 342">
                <a:extLst>
                  <a:ext uri="{FF2B5EF4-FFF2-40B4-BE49-F238E27FC236}">
                    <a16:creationId xmlns:a16="http://schemas.microsoft.com/office/drawing/2014/main" xmlns="" id="{F8001CA5-EA46-4B72-A465-FD906F8152D0}"/>
                  </a:ext>
                </a:extLst>
              </p:cNvPr>
              <p:cNvSpPr/>
              <p:nvPr/>
            </p:nvSpPr>
            <p:spPr>
              <a:xfrm>
                <a:off x="288955" y="608620"/>
                <a:ext cx="336489" cy="185069"/>
              </a:xfrm>
              <a:custGeom>
                <a:avLst/>
                <a:gdLst>
                  <a:gd name="connsiteX0" fmla="*/ 0 w 336489"/>
                  <a:gd name="connsiteY0" fmla="*/ 0 h 185069"/>
                  <a:gd name="connsiteX1" fmla="*/ 336490 w 336489"/>
                  <a:gd name="connsiteY1" fmla="*/ 0 h 185069"/>
                  <a:gd name="connsiteX2" fmla="*/ 336490 w 336489"/>
                  <a:gd name="connsiteY2" fmla="*/ 185069 h 185069"/>
                  <a:gd name="connsiteX3" fmla="*/ 0 w 336489"/>
                  <a:gd name="connsiteY3" fmla="*/ 185069 h 1850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6489" h="185069">
                    <a:moveTo>
                      <a:pt x="0" y="0"/>
                    </a:moveTo>
                    <a:lnTo>
                      <a:pt x="336490" y="0"/>
                    </a:lnTo>
                    <a:lnTo>
                      <a:pt x="336490" y="185069"/>
                    </a:lnTo>
                    <a:lnTo>
                      <a:pt x="0" y="185069"/>
                    </a:lnTo>
                    <a:close/>
                  </a:path>
                </a:pathLst>
              </a:custGeom>
              <a:noFill/>
              <a:ln w="9525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68" name="Freeform: Shape 343">
                <a:extLst>
                  <a:ext uri="{FF2B5EF4-FFF2-40B4-BE49-F238E27FC236}">
                    <a16:creationId xmlns:a16="http://schemas.microsoft.com/office/drawing/2014/main" xmlns="" id="{82CC7696-FC7F-4635-8B1B-CEAB367BB2E2}"/>
                  </a:ext>
                </a:extLst>
              </p:cNvPr>
              <p:cNvSpPr/>
              <p:nvPr/>
            </p:nvSpPr>
            <p:spPr>
              <a:xfrm>
                <a:off x="305779" y="558146"/>
                <a:ext cx="67297" cy="50473"/>
              </a:xfrm>
              <a:custGeom>
                <a:avLst/>
                <a:gdLst>
                  <a:gd name="connsiteX0" fmla="*/ 0 w 67297"/>
                  <a:gd name="connsiteY0" fmla="*/ 0 h 50473"/>
                  <a:gd name="connsiteX1" fmla="*/ 67298 w 67297"/>
                  <a:gd name="connsiteY1" fmla="*/ 0 h 50473"/>
                  <a:gd name="connsiteX2" fmla="*/ 67298 w 67297"/>
                  <a:gd name="connsiteY2" fmla="*/ 50473 h 50473"/>
                  <a:gd name="connsiteX3" fmla="*/ 0 w 67297"/>
                  <a:gd name="connsiteY3" fmla="*/ 50473 h 504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7297" h="50473">
                    <a:moveTo>
                      <a:pt x="0" y="0"/>
                    </a:moveTo>
                    <a:lnTo>
                      <a:pt x="67298" y="0"/>
                    </a:lnTo>
                    <a:lnTo>
                      <a:pt x="67298" y="50473"/>
                    </a:lnTo>
                    <a:lnTo>
                      <a:pt x="0" y="50473"/>
                    </a:lnTo>
                    <a:close/>
                  </a:path>
                </a:pathLst>
              </a:custGeom>
              <a:noFill/>
              <a:ln w="9525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69" name="Freeform: Shape 344">
                <a:extLst>
                  <a:ext uri="{FF2B5EF4-FFF2-40B4-BE49-F238E27FC236}">
                    <a16:creationId xmlns:a16="http://schemas.microsoft.com/office/drawing/2014/main" xmlns="" id="{BBD8F3C5-B1E0-4E5D-93C4-946FCAAD320B}"/>
                  </a:ext>
                </a:extLst>
              </p:cNvPr>
              <p:cNvSpPr/>
              <p:nvPr/>
            </p:nvSpPr>
            <p:spPr>
              <a:xfrm>
                <a:off x="423551" y="558146"/>
                <a:ext cx="67297" cy="50473"/>
              </a:xfrm>
              <a:custGeom>
                <a:avLst/>
                <a:gdLst>
                  <a:gd name="connsiteX0" fmla="*/ 0 w 67297"/>
                  <a:gd name="connsiteY0" fmla="*/ 0 h 50473"/>
                  <a:gd name="connsiteX1" fmla="*/ 67298 w 67297"/>
                  <a:gd name="connsiteY1" fmla="*/ 0 h 50473"/>
                  <a:gd name="connsiteX2" fmla="*/ 67298 w 67297"/>
                  <a:gd name="connsiteY2" fmla="*/ 50473 h 50473"/>
                  <a:gd name="connsiteX3" fmla="*/ 0 w 67297"/>
                  <a:gd name="connsiteY3" fmla="*/ 50473 h 504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7297" h="50473">
                    <a:moveTo>
                      <a:pt x="0" y="0"/>
                    </a:moveTo>
                    <a:lnTo>
                      <a:pt x="67298" y="0"/>
                    </a:lnTo>
                    <a:lnTo>
                      <a:pt x="67298" y="50473"/>
                    </a:lnTo>
                    <a:lnTo>
                      <a:pt x="0" y="50473"/>
                    </a:lnTo>
                    <a:close/>
                  </a:path>
                </a:pathLst>
              </a:custGeom>
              <a:noFill/>
              <a:ln w="9525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70" name="Freeform: Shape 345">
                <a:extLst>
                  <a:ext uri="{FF2B5EF4-FFF2-40B4-BE49-F238E27FC236}">
                    <a16:creationId xmlns:a16="http://schemas.microsoft.com/office/drawing/2014/main" xmlns="" id="{B636EF08-8015-4A59-B824-6A4681645440}"/>
                  </a:ext>
                </a:extLst>
              </p:cNvPr>
              <p:cNvSpPr/>
              <p:nvPr/>
            </p:nvSpPr>
            <p:spPr>
              <a:xfrm>
                <a:off x="541322" y="558146"/>
                <a:ext cx="67297" cy="50473"/>
              </a:xfrm>
              <a:custGeom>
                <a:avLst/>
                <a:gdLst>
                  <a:gd name="connsiteX0" fmla="*/ 0 w 67297"/>
                  <a:gd name="connsiteY0" fmla="*/ 0 h 50473"/>
                  <a:gd name="connsiteX1" fmla="*/ 67298 w 67297"/>
                  <a:gd name="connsiteY1" fmla="*/ 0 h 50473"/>
                  <a:gd name="connsiteX2" fmla="*/ 67298 w 67297"/>
                  <a:gd name="connsiteY2" fmla="*/ 50473 h 50473"/>
                  <a:gd name="connsiteX3" fmla="*/ 0 w 67297"/>
                  <a:gd name="connsiteY3" fmla="*/ 50473 h 504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7297" h="50473">
                    <a:moveTo>
                      <a:pt x="0" y="0"/>
                    </a:moveTo>
                    <a:lnTo>
                      <a:pt x="67298" y="0"/>
                    </a:lnTo>
                    <a:lnTo>
                      <a:pt x="67298" y="50473"/>
                    </a:lnTo>
                    <a:lnTo>
                      <a:pt x="0" y="50473"/>
                    </a:lnTo>
                    <a:close/>
                  </a:path>
                </a:pathLst>
              </a:custGeom>
              <a:noFill/>
              <a:ln w="9525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71" name="Freeform: Shape 346">
                <a:extLst>
                  <a:ext uri="{FF2B5EF4-FFF2-40B4-BE49-F238E27FC236}">
                    <a16:creationId xmlns:a16="http://schemas.microsoft.com/office/drawing/2014/main" xmlns="" id="{665FCE99-4A33-4AF9-881D-AD423197943A}"/>
                  </a:ext>
                </a:extLst>
              </p:cNvPr>
              <p:cNvSpPr/>
              <p:nvPr/>
            </p:nvSpPr>
            <p:spPr>
              <a:xfrm>
                <a:off x="120710" y="120710"/>
                <a:ext cx="672979" cy="672979"/>
              </a:xfrm>
              <a:custGeom>
                <a:avLst/>
                <a:gdLst>
                  <a:gd name="connsiteX0" fmla="*/ 672980 w 672979"/>
                  <a:gd name="connsiteY0" fmla="*/ 672980 h 672979"/>
                  <a:gd name="connsiteX1" fmla="*/ 0 w 672979"/>
                  <a:gd name="connsiteY1" fmla="*/ 672980 h 672979"/>
                  <a:gd name="connsiteX2" fmla="*/ 0 w 672979"/>
                  <a:gd name="connsiteY2" fmla="*/ 0 h 672979"/>
                  <a:gd name="connsiteX3" fmla="*/ 672980 w 672979"/>
                  <a:gd name="connsiteY3" fmla="*/ 0 h 672979"/>
                  <a:gd name="connsiteX4" fmla="*/ 672980 w 672979"/>
                  <a:gd name="connsiteY4" fmla="*/ 672980 h 6729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72979" h="672979">
                    <a:moveTo>
                      <a:pt x="672980" y="672980"/>
                    </a:moveTo>
                    <a:lnTo>
                      <a:pt x="0" y="672980"/>
                    </a:lnTo>
                    <a:lnTo>
                      <a:pt x="0" y="0"/>
                    </a:lnTo>
                    <a:lnTo>
                      <a:pt x="672980" y="0"/>
                    </a:lnTo>
                    <a:lnTo>
                      <a:pt x="672980" y="672980"/>
                    </a:lnTo>
                  </a:path>
                </a:pathLst>
              </a:custGeom>
              <a:noFill/>
              <a:ln w="9525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</p:grpSp>
      </p:grp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45354EEC-BF8F-37EA-702A-19306DA2646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Increased security of power supply and social-economic benefits for both countries</a:t>
            </a:r>
          </a:p>
        </p:txBody>
      </p:sp>
    </p:spTree>
    <p:extLst>
      <p:ext uri="{BB962C8B-B14F-4D97-AF65-F5344CB8AC3E}">
        <p14:creationId xmlns:p14="http://schemas.microsoft.com/office/powerpoint/2010/main" val="259464756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86A1FB1D-4A5F-4A30-BF4F-DE3C2B9BC5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audi Arabia - Egypt</a:t>
            </a:r>
            <a:endParaRPr lang="en-US" b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C1ACADF0-A65E-4D9B-B7D3-D0B8CA74A4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24EC536-6FE3-4540-8D85-74C58F0BF697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xmlns="" id="{724D2C03-25E3-39A0-A19F-C71168554854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/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xmlns="" id="{2D2D2E11-CB03-4432-B232-A98942CB50CF}"/>
              </a:ext>
            </a:extLst>
          </p:cNvPr>
          <p:cNvSpPr/>
          <p:nvPr/>
        </p:nvSpPr>
        <p:spPr>
          <a:xfrm>
            <a:off x="981750" y="4335496"/>
            <a:ext cx="6190058" cy="60321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2000" dirty="0" err="1">
              <a:solidFill>
                <a:schemeClr val="tx1"/>
              </a:solidFill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xmlns="" id="{501F6233-77CE-412E-AB5D-256FB9ECCDD8}"/>
              </a:ext>
            </a:extLst>
          </p:cNvPr>
          <p:cNvGrpSpPr/>
          <p:nvPr/>
        </p:nvGrpSpPr>
        <p:grpSpPr>
          <a:xfrm>
            <a:off x="1086394" y="4379806"/>
            <a:ext cx="4329805" cy="417762"/>
            <a:chOff x="1117050" y="4150277"/>
            <a:chExt cx="4121700" cy="397684"/>
          </a:xfrm>
        </p:grpSpPr>
        <p:sp>
          <p:nvSpPr>
            <p:cNvPr id="21" name="Text Placeholder 8">
              <a:extLst>
                <a:ext uri="{FF2B5EF4-FFF2-40B4-BE49-F238E27FC236}">
                  <a16:creationId xmlns:a16="http://schemas.microsoft.com/office/drawing/2014/main" xmlns="" id="{F1FDEFB9-D264-45E0-8BFB-AA15BA62EB5A}"/>
                </a:ext>
              </a:extLst>
            </p:cNvPr>
            <p:cNvSpPr txBox="1">
              <a:spLocks/>
            </p:cNvSpPr>
            <p:nvPr/>
          </p:nvSpPr>
          <p:spPr>
            <a:xfrm>
              <a:off x="1117050" y="4150277"/>
              <a:ext cx="3897020" cy="23438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​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80975" indent="-180975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0000" indent="-180975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Char char="​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0000" indent="-180975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60000" indent="-180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​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80000" indent="-180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0000" indent="-180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600" b="1" dirty="0">
                  <a:solidFill>
                    <a:schemeClr val="accent5"/>
                  </a:solidFill>
                </a:rPr>
                <a:t>Year</a:t>
              </a:r>
            </a:p>
          </p:txBody>
        </p:sp>
        <p:sp>
          <p:nvSpPr>
            <p:cNvPr id="22" name="Content Placeholder 7">
              <a:extLst>
                <a:ext uri="{FF2B5EF4-FFF2-40B4-BE49-F238E27FC236}">
                  <a16:creationId xmlns:a16="http://schemas.microsoft.com/office/drawing/2014/main" xmlns="" id="{E16C7C1F-38A3-4AEA-A1C9-0DDC110DBCD6}"/>
                </a:ext>
              </a:extLst>
            </p:cNvPr>
            <p:cNvSpPr txBox="1">
              <a:spLocks/>
            </p:cNvSpPr>
            <p:nvPr/>
          </p:nvSpPr>
          <p:spPr>
            <a:xfrm>
              <a:off x="1117056" y="4386820"/>
              <a:ext cx="4121694" cy="16114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​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80975" indent="-180975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0000" indent="-180975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Char char="​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0000" indent="-180975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60000" indent="-180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​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80000" indent="-180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0000" indent="-180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1" indent="0">
                <a:spcBef>
                  <a:spcPts val="0"/>
                </a:spcBef>
                <a:spcAft>
                  <a:spcPts val="200"/>
                </a:spcAft>
                <a:buNone/>
              </a:pPr>
              <a:r>
                <a:rPr lang="en-US" sz="1100" b="0" kern="1200" dirty="0">
                  <a:effectLst/>
                </a:rPr>
                <a:t>2025</a:t>
              </a:r>
              <a:endParaRPr lang="en-US" sz="1100" b="0" kern="1200" cap="none" spc="0" dirty="0">
                <a:solidFill>
                  <a:schemeClr val="tx1"/>
                </a:solidFill>
                <a:effectLst/>
                <a:latin typeface="+mn-lt"/>
                <a:ea typeface="ABBvoice" panose="020D0603020503020204" pitchFamily="34" charset="0"/>
                <a:cs typeface="ABBvoice" panose="020D0603020503020204" pitchFamily="34" charset="0"/>
              </a:endParaRPr>
            </a:p>
          </p:txBody>
        </p:sp>
      </p:grpSp>
      <p:sp>
        <p:nvSpPr>
          <p:cNvPr id="23" name="Rectangle 22">
            <a:extLst>
              <a:ext uri="{FF2B5EF4-FFF2-40B4-BE49-F238E27FC236}">
                <a16:creationId xmlns:a16="http://schemas.microsoft.com/office/drawing/2014/main" xmlns="" id="{ECD70FD6-985E-4097-8CE9-17E6C2D226CF}"/>
              </a:ext>
            </a:extLst>
          </p:cNvPr>
          <p:cNvSpPr/>
          <p:nvPr/>
        </p:nvSpPr>
        <p:spPr>
          <a:xfrm>
            <a:off x="981750" y="1904095"/>
            <a:ext cx="6190058" cy="71320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2000" dirty="0" err="1">
              <a:solidFill>
                <a:schemeClr val="tx1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xmlns="" id="{7595FECB-85E9-43A1-B1B1-FF8A09D70C18}"/>
              </a:ext>
            </a:extLst>
          </p:cNvPr>
          <p:cNvSpPr/>
          <p:nvPr/>
        </p:nvSpPr>
        <p:spPr>
          <a:xfrm>
            <a:off x="981750" y="2654015"/>
            <a:ext cx="6190058" cy="71320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2000" dirty="0" err="1">
              <a:solidFill>
                <a:schemeClr val="tx1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xmlns="" id="{A3A3D5EC-7061-410C-917B-016865346BFA}"/>
              </a:ext>
            </a:extLst>
          </p:cNvPr>
          <p:cNvSpPr/>
          <p:nvPr/>
        </p:nvSpPr>
        <p:spPr>
          <a:xfrm>
            <a:off x="981750" y="1135279"/>
            <a:ext cx="6190058" cy="71320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2000" dirty="0" err="1">
              <a:solidFill>
                <a:schemeClr val="tx1"/>
              </a:solidFill>
            </a:endParaRP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xmlns="" id="{AC508FDE-11CE-4BB6-B667-D74539931821}"/>
              </a:ext>
            </a:extLst>
          </p:cNvPr>
          <p:cNvSpPr txBox="1">
            <a:spLocks/>
          </p:cNvSpPr>
          <p:nvPr/>
        </p:nvSpPr>
        <p:spPr>
          <a:xfrm>
            <a:off x="1086389" y="1216439"/>
            <a:ext cx="432980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>
                <a:solidFill>
                  <a:schemeClr val="tx2"/>
                </a:solidFill>
              </a:rPr>
              <a:t>Customer</a:t>
            </a:r>
          </a:p>
        </p:txBody>
      </p:sp>
      <p:sp>
        <p:nvSpPr>
          <p:cNvPr id="27" name="Content Placeholder 7">
            <a:extLst>
              <a:ext uri="{FF2B5EF4-FFF2-40B4-BE49-F238E27FC236}">
                <a16:creationId xmlns:a16="http://schemas.microsoft.com/office/drawing/2014/main" xmlns="" id="{3F60E2BA-25FE-497C-A5D0-6D0438F60320}"/>
              </a:ext>
            </a:extLst>
          </p:cNvPr>
          <p:cNvSpPr txBox="1">
            <a:spLocks/>
          </p:cNvSpPr>
          <p:nvPr/>
        </p:nvSpPr>
        <p:spPr>
          <a:xfrm>
            <a:off x="1086394" y="1444567"/>
            <a:ext cx="5878752" cy="33855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None/>
            </a:pPr>
            <a:r>
              <a:rPr lang="en-US" sz="11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audi Electricity Company (</a:t>
            </a:r>
            <a:r>
              <a:rPr lang="it-IT" sz="11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C), Saudi Arabia and </a:t>
            </a:r>
            <a:r>
              <a:rPr lang="en-US" sz="11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gyptian Electricity Transmission Company (EETC), Egypt</a:t>
            </a:r>
            <a:endParaRPr lang="sv-SE" sz="1100" b="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xmlns="" id="{11102D7B-9715-411E-8470-902836EAB813}"/>
              </a:ext>
            </a:extLst>
          </p:cNvPr>
          <p:cNvSpPr txBox="1">
            <a:spLocks/>
          </p:cNvSpPr>
          <p:nvPr/>
        </p:nvSpPr>
        <p:spPr>
          <a:xfrm>
            <a:off x="1086394" y="2698100"/>
            <a:ext cx="4093783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>
                <a:solidFill>
                  <a:schemeClr val="accent6"/>
                </a:solidFill>
              </a:rPr>
              <a:t>Our response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xmlns="" id="{5E65A9E1-7C2E-408F-BB60-93972187B085}"/>
              </a:ext>
            </a:extLst>
          </p:cNvPr>
          <p:cNvSpPr txBox="1">
            <a:spLocks/>
          </p:cNvSpPr>
          <p:nvPr/>
        </p:nvSpPr>
        <p:spPr>
          <a:xfrm>
            <a:off x="1086393" y="1973154"/>
            <a:ext cx="4093784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>
                <a:solidFill>
                  <a:srgbClr val="2D2D2D"/>
                </a:solidFill>
              </a:rPr>
              <a:t>Customer needs</a:t>
            </a:r>
          </a:p>
        </p:txBody>
      </p:sp>
      <p:sp>
        <p:nvSpPr>
          <p:cNvPr id="30" name="Content Placeholder 7">
            <a:extLst>
              <a:ext uri="{FF2B5EF4-FFF2-40B4-BE49-F238E27FC236}">
                <a16:creationId xmlns:a16="http://schemas.microsoft.com/office/drawing/2014/main" xmlns="" id="{189B1CBB-C500-4D97-9BB0-8B875A5B98B6}"/>
              </a:ext>
            </a:extLst>
          </p:cNvPr>
          <p:cNvSpPr txBox="1">
            <a:spLocks/>
          </p:cNvSpPr>
          <p:nvPr/>
        </p:nvSpPr>
        <p:spPr>
          <a:xfrm>
            <a:off x="1086397" y="2201283"/>
            <a:ext cx="4329802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171450" lvl="0" indent="-171450">
              <a:spcAft>
                <a:spcPts val="0"/>
              </a:spcAft>
              <a:buFont typeface="Arial" panose="020B0604020202020204" pitchFamily="34" charset="0"/>
              <a:buChar char="‒"/>
              <a:defRPr sz="1100"/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Power transmission and energy trading between countries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xmlns="" id="{A37C78F0-D08D-4E06-B4A1-9ABBB5575586}"/>
              </a:ext>
            </a:extLst>
          </p:cNvPr>
          <p:cNvSpPr/>
          <p:nvPr/>
        </p:nvSpPr>
        <p:spPr>
          <a:xfrm>
            <a:off x="981750" y="3419708"/>
            <a:ext cx="6190058" cy="85208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2000" dirty="0" err="1">
              <a:solidFill>
                <a:schemeClr val="tx1"/>
              </a:solidFill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xmlns="" id="{1CC1D881-8F48-42A5-8607-BB7846512B7B}"/>
              </a:ext>
            </a:extLst>
          </p:cNvPr>
          <p:cNvGrpSpPr/>
          <p:nvPr/>
        </p:nvGrpSpPr>
        <p:grpSpPr>
          <a:xfrm>
            <a:off x="1086394" y="3428434"/>
            <a:ext cx="6018493" cy="716276"/>
            <a:chOff x="1117050" y="3402275"/>
            <a:chExt cx="4182605" cy="681849"/>
          </a:xfrm>
        </p:grpSpPr>
        <p:sp>
          <p:nvSpPr>
            <p:cNvPr id="36" name="Text Placeholder 8">
              <a:extLst>
                <a:ext uri="{FF2B5EF4-FFF2-40B4-BE49-F238E27FC236}">
                  <a16:creationId xmlns:a16="http://schemas.microsoft.com/office/drawing/2014/main" xmlns="" id="{4F77F28C-4774-488B-B6A5-FB297B6823CB}"/>
                </a:ext>
              </a:extLst>
            </p:cNvPr>
            <p:cNvSpPr txBox="1">
              <a:spLocks/>
            </p:cNvSpPr>
            <p:nvPr/>
          </p:nvSpPr>
          <p:spPr>
            <a:xfrm>
              <a:off x="1117050" y="3402275"/>
              <a:ext cx="3897020" cy="23438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​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80975" indent="-180975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0000" indent="-180975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Char char="​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0000" indent="-180975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60000" indent="-180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​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80000" indent="-180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0000" indent="-180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600" b="1" dirty="0">
                  <a:solidFill>
                    <a:schemeClr val="accent5">
                      <a:lumMod val="75000"/>
                    </a:schemeClr>
                  </a:solidFill>
                </a:rPr>
                <a:t>Customer benefits</a:t>
              </a:r>
            </a:p>
          </p:txBody>
        </p:sp>
        <p:sp>
          <p:nvSpPr>
            <p:cNvPr id="37" name="Content Placeholder 7">
              <a:extLst>
                <a:ext uri="{FF2B5EF4-FFF2-40B4-BE49-F238E27FC236}">
                  <a16:creationId xmlns:a16="http://schemas.microsoft.com/office/drawing/2014/main" xmlns="" id="{7CFC413E-317A-4CBA-9486-741860AA9D15}"/>
                </a:ext>
              </a:extLst>
            </p:cNvPr>
            <p:cNvSpPr txBox="1">
              <a:spLocks/>
            </p:cNvSpPr>
            <p:nvPr/>
          </p:nvSpPr>
          <p:spPr>
            <a:xfrm>
              <a:off x="1117056" y="3622675"/>
              <a:ext cx="4182599" cy="461449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​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80975" indent="-180975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0000" indent="-180975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Char char="​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0000" indent="-180975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60000" indent="-180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​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80000" indent="-180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0000" indent="-180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1450" indent="-171450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1050" dirty="0"/>
                <a:t>Facilitate electricity trade between Saudi Arabia and Egypt</a:t>
              </a:r>
            </a:p>
            <a:p>
              <a:pPr marL="171450" indent="-171450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1050" dirty="0"/>
                <a:t>Connecting the two grids with strengthening grid resilience</a:t>
              </a:r>
            </a:p>
            <a:p>
              <a:pPr marL="171450" indent="-171450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1050" dirty="0"/>
                <a:t>Power supply security and optimization of energy production</a:t>
              </a:r>
            </a:p>
          </p:txBody>
        </p:sp>
      </p:grpSp>
      <p:sp>
        <p:nvSpPr>
          <p:cNvPr id="41" name="Rectangle 40">
            <a:extLst>
              <a:ext uri="{FF2B5EF4-FFF2-40B4-BE49-F238E27FC236}">
                <a16:creationId xmlns:a16="http://schemas.microsoft.com/office/drawing/2014/main" xmlns="" id="{21AC5E90-7C28-484B-89AE-2378D9A6D994}"/>
              </a:ext>
            </a:extLst>
          </p:cNvPr>
          <p:cNvSpPr/>
          <p:nvPr/>
        </p:nvSpPr>
        <p:spPr>
          <a:xfrm>
            <a:off x="885090" y="5210664"/>
            <a:ext cx="1648028" cy="3077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/>
          <a:p>
            <a:pPr lvl="0">
              <a:defRPr/>
            </a:pPr>
            <a:r>
              <a:rPr lang="en-US" sz="1000" kern="0" dirty="0">
                <a:solidFill>
                  <a:schemeClr val="tx1"/>
                </a:solidFill>
              </a:rPr>
              <a:t>HVDC Classic</a:t>
            </a:r>
            <a:r>
              <a:rPr lang="en-US" sz="1000" kern="0" baseline="30000" dirty="0">
                <a:solidFill>
                  <a:schemeClr val="tx1"/>
                </a:solidFill>
              </a:rPr>
              <a:t> </a:t>
            </a:r>
          </a:p>
          <a:p>
            <a:pPr lvl="0">
              <a:defRPr/>
            </a:pPr>
            <a:r>
              <a:rPr lang="en-US" sz="1000" kern="0" dirty="0">
                <a:solidFill>
                  <a:schemeClr val="tx1"/>
                </a:solidFill>
              </a:rPr>
              <a:t>converter stations</a:t>
            </a:r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xmlns="" id="{C7DE6A5C-3131-48AC-A2E6-4A3F57DB0B35}"/>
              </a:ext>
            </a:extLst>
          </p:cNvPr>
          <p:cNvSpPr/>
          <p:nvPr/>
        </p:nvSpPr>
        <p:spPr>
          <a:xfrm>
            <a:off x="314508" y="5091718"/>
            <a:ext cx="524626" cy="52462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xmlns="" id="{A744A81B-5F81-41EB-BEF4-9D6FB182A16E}"/>
              </a:ext>
            </a:extLst>
          </p:cNvPr>
          <p:cNvSpPr/>
          <p:nvPr/>
        </p:nvSpPr>
        <p:spPr>
          <a:xfrm>
            <a:off x="3251775" y="5274973"/>
            <a:ext cx="1588179" cy="1538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/>
          <a:p>
            <a:pPr marL="0" lvl="1">
              <a:spcAft>
                <a:spcPts val="200"/>
              </a:spcAft>
              <a:defRPr/>
            </a:pPr>
            <a:r>
              <a:rPr lang="en-US" sz="1000" dirty="0">
                <a:solidFill>
                  <a:schemeClr val="tx1"/>
                </a:solidFill>
              </a:rPr>
              <a:t>Multi-terminal solution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xmlns="" id="{DD86857E-6C9B-414B-BC59-E9D84B59F4C8}"/>
              </a:ext>
            </a:extLst>
          </p:cNvPr>
          <p:cNvSpPr/>
          <p:nvPr/>
        </p:nvSpPr>
        <p:spPr>
          <a:xfrm>
            <a:off x="5558937" y="5210664"/>
            <a:ext cx="1612871" cy="4616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/>
          <a:p>
            <a:pPr marL="0" marR="0" lvl="3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000" kern="0" dirty="0">
                <a:solidFill>
                  <a:schemeClr val="tx1"/>
                </a:solidFill>
              </a:rPr>
              <a:t>Medina: 3,000 MW; Tabuk 1,500 MW; </a:t>
            </a:r>
            <a:r>
              <a:rPr lang="en-US" sz="1000" kern="0" dirty="0" err="1">
                <a:solidFill>
                  <a:schemeClr val="tx1"/>
                </a:solidFill>
              </a:rPr>
              <a:t>Badr</a:t>
            </a:r>
            <a:r>
              <a:rPr lang="en-US" sz="1000" kern="0" dirty="0">
                <a:solidFill>
                  <a:schemeClr val="tx1"/>
                </a:solidFill>
              </a:rPr>
              <a:t> 3,000 MW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lang="en-US" sz="1000" kern="0" dirty="0">
              <a:solidFill>
                <a:schemeClr val="tx1"/>
              </a:solidFill>
            </a:endParaRPr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xmlns="" id="{10906B54-8C95-4B1B-B760-5246BDD1C4AC}"/>
              </a:ext>
            </a:extLst>
          </p:cNvPr>
          <p:cNvSpPr/>
          <p:nvPr/>
        </p:nvSpPr>
        <p:spPr>
          <a:xfrm>
            <a:off x="2690954" y="5091718"/>
            <a:ext cx="524626" cy="52462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xmlns="" id="{2A60ACC0-8675-4D39-AE95-08F4E9503C96}"/>
              </a:ext>
            </a:extLst>
          </p:cNvPr>
          <p:cNvSpPr/>
          <p:nvPr/>
        </p:nvSpPr>
        <p:spPr>
          <a:xfrm>
            <a:off x="4978709" y="5091718"/>
            <a:ext cx="524626" cy="52462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400" dirty="0" err="1">
              <a:solidFill>
                <a:schemeClr val="tx1"/>
              </a:solidFill>
            </a:endParaRPr>
          </a:p>
        </p:txBody>
      </p:sp>
      <p:grpSp>
        <p:nvGrpSpPr>
          <p:cNvPr id="84" name="Group 83">
            <a:extLst>
              <a:ext uri="{FF2B5EF4-FFF2-40B4-BE49-F238E27FC236}">
                <a16:creationId xmlns:a16="http://schemas.microsoft.com/office/drawing/2014/main" xmlns="" id="{9B0F74FC-A000-4580-ABCF-DED5F13F6F53}"/>
              </a:ext>
            </a:extLst>
          </p:cNvPr>
          <p:cNvGrpSpPr/>
          <p:nvPr/>
        </p:nvGrpSpPr>
        <p:grpSpPr>
          <a:xfrm>
            <a:off x="2796852" y="5197617"/>
            <a:ext cx="312832" cy="312830"/>
            <a:chOff x="120710" y="120710"/>
            <a:chExt cx="672979" cy="672979"/>
          </a:xfrm>
        </p:grpSpPr>
        <p:grpSp>
          <p:nvGrpSpPr>
            <p:cNvPr id="85" name="Group 84">
              <a:extLst>
                <a:ext uri="{FF2B5EF4-FFF2-40B4-BE49-F238E27FC236}">
                  <a16:creationId xmlns:a16="http://schemas.microsoft.com/office/drawing/2014/main" xmlns="" id="{BCA7A3AC-C82D-460B-9D87-03AEEA65F0AA}"/>
                </a:ext>
              </a:extLst>
            </p:cNvPr>
            <p:cNvGrpSpPr/>
            <p:nvPr/>
          </p:nvGrpSpPr>
          <p:grpSpPr>
            <a:xfrm>
              <a:off x="339428" y="238481"/>
              <a:ext cx="235543" cy="311253"/>
              <a:chOff x="339428" y="238481"/>
              <a:chExt cx="235543" cy="311253"/>
            </a:xfrm>
          </p:grpSpPr>
          <p:sp>
            <p:nvSpPr>
              <p:cNvPr id="94" name="Freeform: Shape 333">
                <a:extLst>
                  <a:ext uri="{FF2B5EF4-FFF2-40B4-BE49-F238E27FC236}">
                    <a16:creationId xmlns:a16="http://schemas.microsoft.com/office/drawing/2014/main" xmlns="" id="{3CADC5AA-3B43-49A9-8B66-962D8AE904E4}"/>
                  </a:ext>
                </a:extLst>
              </p:cNvPr>
              <p:cNvSpPr/>
              <p:nvPr/>
            </p:nvSpPr>
            <p:spPr>
              <a:xfrm>
                <a:off x="339428" y="238481"/>
                <a:ext cx="168" cy="50473"/>
              </a:xfrm>
              <a:custGeom>
                <a:avLst/>
                <a:gdLst>
                  <a:gd name="connsiteX0" fmla="*/ 168 w 168"/>
                  <a:gd name="connsiteY0" fmla="*/ 0 h 50473"/>
                  <a:gd name="connsiteX1" fmla="*/ 0 w 168"/>
                  <a:gd name="connsiteY1" fmla="*/ 50473 h 504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8" h="50473">
                    <a:moveTo>
                      <a:pt x="168" y="0"/>
                    </a:moveTo>
                    <a:lnTo>
                      <a:pt x="0" y="50473"/>
                    </a:lnTo>
                  </a:path>
                </a:pathLst>
              </a:custGeom>
              <a:ln w="12700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95" name="Freeform: Shape 334">
                <a:extLst>
                  <a:ext uri="{FF2B5EF4-FFF2-40B4-BE49-F238E27FC236}">
                    <a16:creationId xmlns:a16="http://schemas.microsoft.com/office/drawing/2014/main" xmlns="" id="{D5724C90-A988-4BAD-8961-D60D3B540242}"/>
                  </a:ext>
                </a:extLst>
              </p:cNvPr>
              <p:cNvSpPr/>
              <p:nvPr/>
            </p:nvSpPr>
            <p:spPr>
              <a:xfrm>
                <a:off x="457031" y="238481"/>
                <a:ext cx="168" cy="50473"/>
              </a:xfrm>
              <a:custGeom>
                <a:avLst/>
                <a:gdLst>
                  <a:gd name="connsiteX0" fmla="*/ 168 w 168"/>
                  <a:gd name="connsiteY0" fmla="*/ 0 h 50473"/>
                  <a:gd name="connsiteX1" fmla="*/ 0 w 168"/>
                  <a:gd name="connsiteY1" fmla="*/ 50473 h 504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8" h="50473">
                    <a:moveTo>
                      <a:pt x="168" y="0"/>
                    </a:moveTo>
                    <a:lnTo>
                      <a:pt x="0" y="50473"/>
                    </a:lnTo>
                  </a:path>
                </a:pathLst>
              </a:custGeom>
              <a:ln w="12700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96" name="Freeform: Shape 335">
                <a:extLst>
                  <a:ext uri="{FF2B5EF4-FFF2-40B4-BE49-F238E27FC236}">
                    <a16:creationId xmlns:a16="http://schemas.microsoft.com/office/drawing/2014/main" xmlns="" id="{ED1BF73C-BC58-411A-8215-A06F69611959}"/>
                  </a:ext>
                </a:extLst>
              </p:cNvPr>
              <p:cNvSpPr/>
              <p:nvPr/>
            </p:nvSpPr>
            <p:spPr>
              <a:xfrm>
                <a:off x="574803" y="238481"/>
                <a:ext cx="168" cy="50473"/>
              </a:xfrm>
              <a:custGeom>
                <a:avLst/>
                <a:gdLst>
                  <a:gd name="connsiteX0" fmla="*/ 168 w 168"/>
                  <a:gd name="connsiteY0" fmla="*/ 0 h 50473"/>
                  <a:gd name="connsiteX1" fmla="*/ 0 w 168"/>
                  <a:gd name="connsiteY1" fmla="*/ 50473 h 504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8" h="50473">
                    <a:moveTo>
                      <a:pt x="168" y="0"/>
                    </a:moveTo>
                    <a:lnTo>
                      <a:pt x="0" y="50473"/>
                    </a:lnTo>
                  </a:path>
                </a:pathLst>
              </a:custGeom>
              <a:ln w="12700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97" name="Freeform: Shape 336">
                <a:extLst>
                  <a:ext uri="{FF2B5EF4-FFF2-40B4-BE49-F238E27FC236}">
                    <a16:creationId xmlns:a16="http://schemas.microsoft.com/office/drawing/2014/main" xmlns="" id="{509CD94E-A449-42C6-86D2-48D94F2194AF}"/>
                  </a:ext>
                </a:extLst>
              </p:cNvPr>
              <p:cNvSpPr/>
              <p:nvPr/>
            </p:nvSpPr>
            <p:spPr>
              <a:xfrm>
                <a:off x="339428" y="389902"/>
                <a:ext cx="168" cy="159832"/>
              </a:xfrm>
              <a:custGeom>
                <a:avLst/>
                <a:gdLst>
                  <a:gd name="connsiteX0" fmla="*/ 168 w 168"/>
                  <a:gd name="connsiteY0" fmla="*/ 0 h 159832"/>
                  <a:gd name="connsiteX1" fmla="*/ 0 w 168"/>
                  <a:gd name="connsiteY1" fmla="*/ 159833 h 1598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8" h="159832">
                    <a:moveTo>
                      <a:pt x="168" y="0"/>
                    </a:moveTo>
                    <a:lnTo>
                      <a:pt x="0" y="159833"/>
                    </a:lnTo>
                  </a:path>
                </a:pathLst>
              </a:custGeom>
              <a:ln w="12700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98" name="Freeform: Shape 337">
                <a:extLst>
                  <a:ext uri="{FF2B5EF4-FFF2-40B4-BE49-F238E27FC236}">
                    <a16:creationId xmlns:a16="http://schemas.microsoft.com/office/drawing/2014/main" xmlns="" id="{9DBF880B-10F4-4325-AC1B-A1A6F9A5D80A}"/>
                  </a:ext>
                </a:extLst>
              </p:cNvPr>
              <p:cNvSpPr/>
              <p:nvPr/>
            </p:nvSpPr>
            <p:spPr>
              <a:xfrm>
                <a:off x="457031" y="389902"/>
                <a:ext cx="168" cy="159832"/>
              </a:xfrm>
              <a:custGeom>
                <a:avLst/>
                <a:gdLst>
                  <a:gd name="connsiteX0" fmla="*/ 168 w 168"/>
                  <a:gd name="connsiteY0" fmla="*/ 0 h 159832"/>
                  <a:gd name="connsiteX1" fmla="*/ 0 w 168"/>
                  <a:gd name="connsiteY1" fmla="*/ 159833 h 1598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8" h="159832">
                    <a:moveTo>
                      <a:pt x="168" y="0"/>
                    </a:moveTo>
                    <a:lnTo>
                      <a:pt x="0" y="159833"/>
                    </a:lnTo>
                  </a:path>
                </a:pathLst>
              </a:custGeom>
              <a:ln w="12700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99" name="Freeform: Shape 338">
                <a:extLst>
                  <a:ext uri="{FF2B5EF4-FFF2-40B4-BE49-F238E27FC236}">
                    <a16:creationId xmlns:a16="http://schemas.microsoft.com/office/drawing/2014/main" xmlns="" id="{7D90CE5F-97BA-43FB-9F68-7044D6A07208}"/>
                  </a:ext>
                </a:extLst>
              </p:cNvPr>
              <p:cNvSpPr/>
              <p:nvPr/>
            </p:nvSpPr>
            <p:spPr>
              <a:xfrm>
                <a:off x="574803" y="389902"/>
                <a:ext cx="168" cy="159832"/>
              </a:xfrm>
              <a:custGeom>
                <a:avLst/>
                <a:gdLst>
                  <a:gd name="connsiteX0" fmla="*/ 168 w 168"/>
                  <a:gd name="connsiteY0" fmla="*/ 0 h 159832"/>
                  <a:gd name="connsiteX1" fmla="*/ 0 w 168"/>
                  <a:gd name="connsiteY1" fmla="*/ 159833 h 1598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8" h="159832">
                    <a:moveTo>
                      <a:pt x="168" y="0"/>
                    </a:moveTo>
                    <a:lnTo>
                      <a:pt x="0" y="159833"/>
                    </a:lnTo>
                  </a:path>
                </a:pathLst>
              </a:custGeom>
              <a:ln w="12700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</p:grpSp>
        <p:grpSp>
          <p:nvGrpSpPr>
            <p:cNvPr id="86" name="Group 85">
              <a:extLst>
                <a:ext uri="{FF2B5EF4-FFF2-40B4-BE49-F238E27FC236}">
                  <a16:creationId xmlns:a16="http://schemas.microsoft.com/office/drawing/2014/main" xmlns="" id="{B1E0BA41-1B7E-48B2-832A-F7E76AE217BE}"/>
                </a:ext>
              </a:extLst>
            </p:cNvPr>
            <p:cNvGrpSpPr/>
            <p:nvPr/>
          </p:nvGrpSpPr>
          <p:grpSpPr>
            <a:xfrm>
              <a:off x="120710" y="120710"/>
              <a:ext cx="672979" cy="672979"/>
              <a:chOff x="120710" y="120710"/>
              <a:chExt cx="672979" cy="672979"/>
            </a:xfrm>
          </p:grpSpPr>
          <p:sp>
            <p:nvSpPr>
              <p:cNvPr id="87" name="Freeform: Shape 340">
                <a:extLst>
                  <a:ext uri="{FF2B5EF4-FFF2-40B4-BE49-F238E27FC236}">
                    <a16:creationId xmlns:a16="http://schemas.microsoft.com/office/drawing/2014/main" xmlns="" id="{5B5BC1EE-9C8F-4B12-81FA-E6187AD54FF6}"/>
                  </a:ext>
                </a:extLst>
              </p:cNvPr>
              <p:cNvSpPr/>
              <p:nvPr/>
            </p:nvSpPr>
            <p:spPr>
              <a:xfrm>
                <a:off x="171183" y="171183"/>
                <a:ext cx="572032" cy="622506"/>
              </a:xfrm>
              <a:custGeom>
                <a:avLst/>
                <a:gdLst>
                  <a:gd name="connsiteX0" fmla="*/ 0 w 572032"/>
                  <a:gd name="connsiteY0" fmla="*/ 622506 h 622506"/>
                  <a:gd name="connsiteX1" fmla="*/ 0 w 572032"/>
                  <a:gd name="connsiteY1" fmla="*/ 0 h 622506"/>
                  <a:gd name="connsiteX2" fmla="*/ 572033 w 572032"/>
                  <a:gd name="connsiteY2" fmla="*/ 0 h 622506"/>
                  <a:gd name="connsiteX3" fmla="*/ 572033 w 572032"/>
                  <a:gd name="connsiteY3" fmla="*/ 622506 h 62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72032" h="622506">
                    <a:moveTo>
                      <a:pt x="0" y="622506"/>
                    </a:moveTo>
                    <a:lnTo>
                      <a:pt x="0" y="0"/>
                    </a:lnTo>
                    <a:lnTo>
                      <a:pt x="572033" y="0"/>
                    </a:lnTo>
                    <a:lnTo>
                      <a:pt x="572033" y="622506"/>
                    </a:lnTo>
                  </a:path>
                </a:pathLst>
              </a:custGeom>
              <a:noFill/>
              <a:ln w="12700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88" name="Freeform: Shape 341">
                <a:extLst>
                  <a:ext uri="{FF2B5EF4-FFF2-40B4-BE49-F238E27FC236}">
                    <a16:creationId xmlns:a16="http://schemas.microsoft.com/office/drawing/2014/main" xmlns="" id="{D4497BC5-53D1-44C2-A35E-91CF2D8F4499}"/>
                  </a:ext>
                </a:extLst>
              </p:cNvPr>
              <p:cNvSpPr/>
              <p:nvPr/>
            </p:nvSpPr>
            <p:spPr>
              <a:xfrm>
                <a:off x="272130" y="171183"/>
                <a:ext cx="370138" cy="67297"/>
              </a:xfrm>
              <a:custGeom>
                <a:avLst/>
                <a:gdLst>
                  <a:gd name="connsiteX0" fmla="*/ 0 w 370138"/>
                  <a:gd name="connsiteY0" fmla="*/ 0 h 67297"/>
                  <a:gd name="connsiteX1" fmla="*/ 0 w 370138"/>
                  <a:gd name="connsiteY1" fmla="*/ 67298 h 67297"/>
                  <a:gd name="connsiteX2" fmla="*/ 370139 w 370138"/>
                  <a:gd name="connsiteY2" fmla="*/ 67298 h 67297"/>
                  <a:gd name="connsiteX3" fmla="*/ 370139 w 370138"/>
                  <a:gd name="connsiteY3" fmla="*/ 0 h 672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70138" h="67297">
                    <a:moveTo>
                      <a:pt x="0" y="0"/>
                    </a:moveTo>
                    <a:lnTo>
                      <a:pt x="0" y="67298"/>
                    </a:lnTo>
                    <a:lnTo>
                      <a:pt x="370139" y="67298"/>
                    </a:lnTo>
                    <a:lnTo>
                      <a:pt x="370139" y="0"/>
                    </a:lnTo>
                  </a:path>
                </a:pathLst>
              </a:custGeom>
              <a:noFill/>
              <a:ln w="12700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89" name="Freeform: Shape 342">
                <a:extLst>
                  <a:ext uri="{FF2B5EF4-FFF2-40B4-BE49-F238E27FC236}">
                    <a16:creationId xmlns:a16="http://schemas.microsoft.com/office/drawing/2014/main" xmlns="" id="{A8FF56D5-D637-4DA6-848C-AAFB6D422812}"/>
                  </a:ext>
                </a:extLst>
              </p:cNvPr>
              <p:cNvSpPr/>
              <p:nvPr/>
            </p:nvSpPr>
            <p:spPr>
              <a:xfrm>
                <a:off x="288955" y="608620"/>
                <a:ext cx="336489" cy="185069"/>
              </a:xfrm>
              <a:custGeom>
                <a:avLst/>
                <a:gdLst>
                  <a:gd name="connsiteX0" fmla="*/ 0 w 336489"/>
                  <a:gd name="connsiteY0" fmla="*/ 0 h 185069"/>
                  <a:gd name="connsiteX1" fmla="*/ 336490 w 336489"/>
                  <a:gd name="connsiteY1" fmla="*/ 0 h 185069"/>
                  <a:gd name="connsiteX2" fmla="*/ 336490 w 336489"/>
                  <a:gd name="connsiteY2" fmla="*/ 185069 h 185069"/>
                  <a:gd name="connsiteX3" fmla="*/ 0 w 336489"/>
                  <a:gd name="connsiteY3" fmla="*/ 185069 h 1850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6489" h="185069">
                    <a:moveTo>
                      <a:pt x="0" y="0"/>
                    </a:moveTo>
                    <a:lnTo>
                      <a:pt x="336490" y="0"/>
                    </a:lnTo>
                    <a:lnTo>
                      <a:pt x="336490" y="185069"/>
                    </a:lnTo>
                    <a:lnTo>
                      <a:pt x="0" y="185069"/>
                    </a:lnTo>
                    <a:close/>
                  </a:path>
                </a:pathLst>
              </a:custGeom>
              <a:noFill/>
              <a:ln w="12700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90" name="Freeform: Shape 343">
                <a:extLst>
                  <a:ext uri="{FF2B5EF4-FFF2-40B4-BE49-F238E27FC236}">
                    <a16:creationId xmlns:a16="http://schemas.microsoft.com/office/drawing/2014/main" xmlns="" id="{732DE2C0-DA94-48BA-86CD-E4FFBDAEEA77}"/>
                  </a:ext>
                </a:extLst>
              </p:cNvPr>
              <p:cNvSpPr/>
              <p:nvPr/>
            </p:nvSpPr>
            <p:spPr>
              <a:xfrm>
                <a:off x="305779" y="558146"/>
                <a:ext cx="67297" cy="50473"/>
              </a:xfrm>
              <a:custGeom>
                <a:avLst/>
                <a:gdLst>
                  <a:gd name="connsiteX0" fmla="*/ 0 w 67297"/>
                  <a:gd name="connsiteY0" fmla="*/ 0 h 50473"/>
                  <a:gd name="connsiteX1" fmla="*/ 67298 w 67297"/>
                  <a:gd name="connsiteY1" fmla="*/ 0 h 50473"/>
                  <a:gd name="connsiteX2" fmla="*/ 67298 w 67297"/>
                  <a:gd name="connsiteY2" fmla="*/ 50473 h 50473"/>
                  <a:gd name="connsiteX3" fmla="*/ 0 w 67297"/>
                  <a:gd name="connsiteY3" fmla="*/ 50473 h 504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7297" h="50473">
                    <a:moveTo>
                      <a:pt x="0" y="0"/>
                    </a:moveTo>
                    <a:lnTo>
                      <a:pt x="67298" y="0"/>
                    </a:lnTo>
                    <a:lnTo>
                      <a:pt x="67298" y="50473"/>
                    </a:lnTo>
                    <a:lnTo>
                      <a:pt x="0" y="50473"/>
                    </a:lnTo>
                    <a:close/>
                  </a:path>
                </a:pathLst>
              </a:custGeom>
              <a:noFill/>
              <a:ln w="12700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91" name="Freeform: Shape 344">
                <a:extLst>
                  <a:ext uri="{FF2B5EF4-FFF2-40B4-BE49-F238E27FC236}">
                    <a16:creationId xmlns:a16="http://schemas.microsoft.com/office/drawing/2014/main" xmlns="" id="{4FBE1A01-9F77-4FF3-B8A1-5AAB61812B4E}"/>
                  </a:ext>
                </a:extLst>
              </p:cNvPr>
              <p:cNvSpPr/>
              <p:nvPr/>
            </p:nvSpPr>
            <p:spPr>
              <a:xfrm>
                <a:off x="423551" y="558146"/>
                <a:ext cx="67297" cy="50473"/>
              </a:xfrm>
              <a:custGeom>
                <a:avLst/>
                <a:gdLst>
                  <a:gd name="connsiteX0" fmla="*/ 0 w 67297"/>
                  <a:gd name="connsiteY0" fmla="*/ 0 h 50473"/>
                  <a:gd name="connsiteX1" fmla="*/ 67298 w 67297"/>
                  <a:gd name="connsiteY1" fmla="*/ 0 h 50473"/>
                  <a:gd name="connsiteX2" fmla="*/ 67298 w 67297"/>
                  <a:gd name="connsiteY2" fmla="*/ 50473 h 50473"/>
                  <a:gd name="connsiteX3" fmla="*/ 0 w 67297"/>
                  <a:gd name="connsiteY3" fmla="*/ 50473 h 504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7297" h="50473">
                    <a:moveTo>
                      <a:pt x="0" y="0"/>
                    </a:moveTo>
                    <a:lnTo>
                      <a:pt x="67298" y="0"/>
                    </a:lnTo>
                    <a:lnTo>
                      <a:pt x="67298" y="50473"/>
                    </a:lnTo>
                    <a:lnTo>
                      <a:pt x="0" y="50473"/>
                    </a:lnTo>
                    <a:close/>
                  </a:path>
                </a:pathLst>
              </a:custGeom>
              <a:noFill/>
              <a:ln w="12700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92" name="Freeform: Shape 345">
                <a:extLst>
                  <a:ext uri="{FF2B5EF4-FFF2-40B4-BE49-F238E27FC236}">
                    <a16:creationId xmlns:a16="http://schemas.microsoft.com/office/drawing/2014/main" xmlns="" id="{B6F3C934-17DB-4E5B-80C4-127E33D7BAF5}"/>
                  </a:ext>
                </a:extLst>
              </p:cNvPr>
              <p:cNvSpPr/>
              <p:nvPr/>
            </p:nvSpPr>
            <p:spPr>
              <a:xfrm>
                <a:off x="541322" y="558146"/>
                <a:ext cx="67297" cy="50473"/>
              </a:xfrm>
              <a:custGeom>
                <a:avLst/>
                <a:gdLst>
                  <a:gd name="connsiteX0" fmla="*/ 0 w 67297"/>
                  <a:gd name="connsiteY0" fmla="*/ 0 h 50473"/>
                  <a:gd name="connsiteX1" fmla="*/ 67298 w 67297"/>
                  <a:gd name="connsiteY1" fmla="*/ 0 h 50473"/>
                  <a:gd name="connsiteX2" fmla="*/ 67298 w 67297"/>
                  <a:gd name="connsiteY2" fmla="*/ 50473 h 50473"/>
                  <a:gd name="connsiteX3" fmla="*/ 0 w 67297"/>
                  <a:gd name="connsiteY3" fmla="*/ 50473 h 504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7297" h="50473">
                    <a:moveTo>
                      <a:pt x="0" y="0"/>
                    </a:moveTo>
                    <a:lnTo>
                      <a:pt x="67298" y="0"/>
                    </a:lnTo>
                    <a:lnTo>
                      <a:pt x="67298" y="50473"/>
                    </a:lnTo>
                    <a:lnTo>
                      <a:pt x="0" y="50473"/>
                    </a:lnTo>
                    <a:close/>
                  </a:path>
                </a:pathLst>
              </a:custGeom>
              <a:noFill/>
              <a:ln w="12700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93" name="Freeform: Shape 346">
                <a:extLst>
                  <a:ext uri="{FF2B5EF4-FFF2-40B4-BE49-F238E27FC236}">
                    <a16:creationId xmlns:a16="http://schemas.microsoft.com/office/drawing/2014/main" xmlns="" id="{0A218C57-F0A6-44CE-8DE1-9787A92651A8}"/>
                  </a:ext>
                </a:extLst>
              </p:cNvPr>
              <p:cNvSpPr/>
              <p:nvPr/>
            </p:nvSpPr>
            <p:spPr>
              <a:xfrm>
                <a:off x="120710" y="120710"/>
                <a:ext cx="672979" cy="672979"/>
              </a:xfrm>
              <a:custGeom>
                <a:avLst/>
                <a:gdLst>
                  <a:gd name="connsiteX0" fmla="*/ 672980 w 672979"/>
                  <a:gd name="connsiteY0" fmla="*/ 672980 h 672979"/>
                  <a:gd name="connsiteX1" fmla="*/ 0 w 672979"/>
                  <a:gd name="connsiteY1" fmla="*/ 672980 h 672979"/>
                  <a:gd name="connsiteX2" fmla="*/ 0 w 672979"/>
                  <a:gd name="connsiteY2" fmla="*/ 0 h 672979"/>
                  <a:gd name="connsiteX3" fmla="*/ 672980 w 672979"/>
                  <a:gd name="connsiteY3" fmla="*/ 0 h 672979"/>
                  <a:gd name="connsiteX4" fmla="*/ 672980 w 672979"/>
                  <a:gd name="connsiteY4" fmla="*/ 672980 h 6729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72979" h="672979">
                    <a:moveTo>
                      <a:pt x="672980" y="672980"/>
                    </a:moveTo>
                    <a:lnTo>
                      <a:pt x="0" y="672980"/>
                    </a:lnTo>
                    <a:lnTo>
                      <a:pt x="0" y="0"/>
                    </a:lnTo>
                    <a:lnTo>
                      <a:pt x="672980" y="0"/>
                    </a:lnTo>
                    <a:lnTo>
                      <a:pt x="672980" y="672980"/>
                    </a:lnTo>
                  </a:path>
                </a:pathLst>
              </a:custGeom>
              <a:noFill/>
              <a:ln w="12700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</p:grpSp>
      </p:grpSp>
      <p:sp>
        <p:nvSpPr>
          <p:cNvPr id="158" name="TextBox 157">
            <a:extLst>
              <a:ext uri="{FF2B5EF4-FFF2-40B4-BE49-F238E27FC236}">
                <a16:creationId xmlns:a16="http://schemas.microsoft.com/office/drawing/2014/main" xmlns="" id="{7648FB5C-6332-4CEB-9E7C-CFC257B5377A}"/>
              </a:ext>
            </a:extLst>
          </p:cNvPr>
          <p:cNvSpPr txBox="1"/>
          <p:nvPr/>
        </p:nvSpPr>
        <p:spPr>
          <a:xfrm>
            <a:off x="996902" y="2910171"/>
            <a:ext cx="6107986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marR="0" lvl="0" indent="-171450" fontAlgn="auto">
              <a:lnSpc>
                <a:spcPct val="100000"/>
              </a:lnSpc>
              <a:spcBef>
                <a:spcPts val="0"/>
              </a:spcBef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100" dirty="0"/>
              <a:t>3,000 MW ±500 kV multi-terminal solution with power flow in multiple directions</a:t>
            </a:r>
          </a:p>
          <a:p>
            <a:pPr marL="171450" marR="0" lvl="0" indent="-171450" fontAlgn="auto">
              <a:lnSpc>
                <a:spcPct val="100000"/>
              </a:lnSpc>
              <a:spcBef>
                <a:spcPts val="0"/>
              </a:spcBef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100" dirty="0"/>
              <a:t>Three turnkey HVDC converter stations: Medina, Tabuk and </a:t>
            </a:r>
            <a:r>
              <a:rPr lang="en-US" sz="1100" dirty="0" err="1"/>
              <a:t>Badr</a:t>
            </a:r>
            <a:endParaRPr lang="en-US" sz="1100" dirty="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xmlns="" id="{80CC9BF5-6A42-474D-9AAF-6478D6C78D0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32350" y="5102111"/>
            <a:ext cx="466725" cy="466725"/>
          </a:xfrm>
          <a:prstGeom prst="rect">
            <a:avLst/>
          </a:prstGeom>
        </p:spPr>
      </p:pic>
      <p:pic>
        <p:nvPicPr>
          <p:cNvPr id="18" name="Picture 17" descr="Map&#10;&#10;Description automatically generated">
            <a:extLst>
              <a:ext uri="{FF2B5EF4-FFF2-40B4-BE49-F238E27FC236}">
                <a16:creationId xmlns:a16="http://schemas.microsoft.com/office/drawing/2014/main" xmlns="" id="{9823EC78-981C-4C28-A241-58C4BFE5C805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2713" r="3958"/>
          <a:stretch/>
        </p:blipFill>
        <p:spPr>
          <a:xfrm>
            <a:off x="7167454" y="1134704"/>
            <a:ext cx="4761021" cy="4622400"/>
          </a:xfrm>
          <a:prstGeom prst="rect">
            <a:avLst/>
          </a:prstGeom>
        </p:spPr>
      </p:pic>
      <p:pic>
        <p:nvPicPr>
          <p:cNvPr id="50" name="Graphic 49">
            <a:extLst>
              <a:ext uri="{FF2B5EF4-FFF2-40B4-BE49-F238E27FC236}">
                <a16:creationId xmlns:a16="http://schemas.microsoft.com/office/drawing/2014/main" xmlns="" id="{AA265C70-1E2C-47AC-94F0-2C77B5C7A32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5018753" y="5115815"/>
            <a:ext cx="466725" cy="466725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xmlns="" id="{ACC64A1E-F38B-347E-D063-3A34B604A997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r>
              <a:rPr lang="en-US" sz="1600" dirty="0">
                <a:solidFill>
                  <a:schemeClr val="bg1"/>
                </a:solidFill>
              </a:rPr>
              <a:t>The first ever large-scale HVDC interconnection in the Middle East and North Africa</a:t>
            </a:r>
          </a:p>
        </p:txBody>
      </p:sp>
    </p:spTree>
    <p:extLst>
      <p:ext uri="{BB962C8B-B14F-4D97-AF65-F5344CB8AC3E}">
        <p14:creationId xmlns:p14="http://schemas.microsoft.com/office/powerpoint/2010/main" val="396821868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xmlns="" id="{931127A5-96BB-CC05-9468-B4F191FEA2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arning from Caithness-Moray projec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A8BA79B6-957A-6949-73B3-4E6E7CE9C6F2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C24EC536-6FE3-4540-8D85-74C58F0BF697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F27E478D-FE37-10E0-6C2B-C439AF9C15A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6" name="Content Placeholder 5" descr="A screenshot of a computer&#10;&#10;Description automatically generated with medium confidence">
            <a:extLst>
              <a:ext uri="{FF2B5EF4-FFF2-40B4-BE49-F238E27FC236}">
                <a16:creationId xmlns:a16="http://schemas.microsoft.com/office/drawing/2014/main" xmlns="" id="{157A4B6B-3F39-95DD-3A5A-246DEE5AA1DA}"/>
              </a:ext>
            </a:extLst>
          </p:cNvPr>
          <p:cNvPicPr>
            <a:picLocks noGrp="1" noChangeAspect="1"/>
          </p:cNvPicPr>
          <p:nvPr>
            <p:ph sz="quarter" idx="21"/>
          </p:nvPr>
        </p:nvPicPr>
        <p:blipFill rotWithShape="1">
          <a:blip r:embed="rId2"/>
          <a:srcRect b="11031"/>
          <a:stretch/>
        </p:blipFill>
        <p:spPr>
          <a:xfrm>
            <a:off x="579934" y="1103186"/>
            <a:ext cx="11029362" cy="417039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56896BA3-570F-8A24-057D-1422DF40A1C2}"/>
              </a:ext>
            </a:extLst>
          </p:cNvPr>
          <p:cNvSpPr txBox="1"/>
          <p:nvPr/>
        </p:nvSpPr>
        <p:spPr>
          <a:xfrm>
            <a:off x="129848" y="5393570"/>
            <a:ext cx="11929534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tabLst>
                <a:tab pos="2703830" algn="l"/>
              </a:tabLst>
            </a:pPr>
            <a:r>
              <a:rPr lang="en-US" sz="1600" kern="600" dirty="0">
                <a:effectLst/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rPr>
              <a:t>Hitachi Energy’s portfolio for developing DC-hubs and multiterminal systems includes state of the art VSC converters in different configurations, engineering solutions as for CMS </a:t>
            </a:r>
            <a:r>
              <a:rPr lang="en-US" sz="1600" kern="600" dirty="0"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rPr>
              <a:t>HVDC link reference, but also looks back to references such as: Quebec-New England, North-East Agra, Saudi-Egypt, </a:t>
            </a:r>
            <a:r>
              <a:rPr lang="en-US" sz="1600" kern="600" dirty="0" err="1"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rPr>
              <a:t>Zhangbei</a:t>
            </a:r>
            <a:r>
              <a:rPr lang="en-US" sz="1600" kern="600" dirty="0"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rPr>
              <a:t> &amp; </a:t>
            </a:r>
            <a:r>
              <a:rPr lang="en-US" sz="1600" kern="600" dirty="0" err="1"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rPr>
              <a:t>NordBalt</a:t>
            </a:r>
            <a:r>
              <a:rPr lang="en-US" sz="1600" kern="600" dirty="0"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rPr>
              <a:t>.</a:t>
            </a:r>
          </a:p>
          <a:p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32295984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yt1s.com - CaithnessMoray  Shetland Europes first multiterminal HVDC Light system_720p">
            <a:hlinkClick r:id="" action="ppaction://media"/>
            <a:extLst>
              <a:ext uri="{FF2B5EF4-FFF2-40B4-BE49-F238E27FC236}">
                <a16:creationId xmlns:a16="http://schemas.microsoft.com/office/drawing/2014/main" xmlns="" id="{2DBF481C-704D-EE74-61D9-6B73A92C1EC8}"/>
              </a:ext>
            </a:extLst>
          </p:cNvPr>
          <p:cNvPicPr>
            <a:picLocks noGrp="1" noChangeAspect="1"/>
          </p:cNvPicPr>
          <p:nvPr>
            <p:ph sz="quarter" idx="21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679575" y="965772"/>
            <a:ext cx="9447338" cy="5314552"/>
          </a:xfr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xmlns="" id="{975F92F1-497D-6DE9-D82C-9B5A12AF93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ithness Moray Shetland HVDC Link - VIDE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B5C5B0E3-ECE4-9466-D077-3ED8A15C74E9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C24EC536-6FE3-4540-8D85-74C58F0BF697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6E29DC8A-64CB-AE1F-78CA-4A5CDC3D486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774347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89605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6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"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427365424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4832421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xmlns="" id="{66A12C65-4D3D-402D-9C97-5AE5CE93A1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wer grid infrastructure required for net zero roadmap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9987D823-1479-437F-8C39-AD95EED558E8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3416400" y="6456496"/>
            <a:ext cx="6688800" cy="234000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E94BBA04-1321-4606-825D-E9ACEE3803D2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C24EC536-6FE3-4540-8D85-74C58F0BF697}" type="slidenum">
              <a:rPr lang="en-US" smtClean="0"/>
              <a:pPr/>
              <a:t>2</a:t>
            </a:fld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104768FB-04CB-4636-ADAC-0451D5D56AB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35936" y="1256044"/>
            <a:ext cx="6879663" cy="4874993"/>
          </a:xfrm>
          <a:prstGeom prst="rect">
            <a:avLst/>
          </a:prstGeom>
          <a:ln>
            <a:solidFill>
              <a:schemeClr val="tx1"/>
            </a:solidFill>
          </a:ln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xmlns="" id="{4CE8B5C9-64DA-459B-B2EF-29B7D20C55CF}"/>
              </a:ext>
            </a:extLst>
          </p:cNvPr>
          <p:cNvCxnSpPr>
            <a:cxnSpLocks/>
            <a:stCxn id="6" idx="1"/>
          </p:cNvCxnSpPr>
          <p:nvPr/>
        </p:nvCxnSpPr>
        <p:spPr>
          <a:xfrm flipH="1">
            <a:off x="3999244" y="3693541"/>
            <a:ext cx="536692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A1EA0708-431B-4886-89E5-9D3001B27395}"/>
              </a:ext>
            </a:extLst>
          </p:cNvPr>
          <p:cNvSpPr/>
          <p:nvPr/>
        </p:nvSpPr>
        <p:spPr>
          <a:xfrm>
            <a:off x="472277" y="1087554"/>
            <a:ext cx="3362064" cy="4874994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de-CH" sz="1400" dirty="0" err="1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E795A99E-035F-4A8F-ACBA-EDCE6BE23069}"/>
              </a:ext>
            </a:extLst>
          </p:cNvPr>
          <p:cNvSpPr/>
          <p:nvPr/>
        </p:nvSpPr>
        <p:spPr>
          <a:xfrm>
            <a:off x="510060" y="1154479"/>
            <a:ext cx="3362064" cy="4874994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de-CH" sz="1400" dirty="0" err="1">
              <a:solidFill>
                <a:schemeClr val="tx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6F3DDFAB-5963-407F-B10B-6B38796AC060}"/>
              </a:ext>
            </a:extLst>
          </p:cNvPr>
          <p:cNvSpPr/>
          <p:nvPr/>
        </p:nvSpPr>
        <p:spPr>
          <a:xfrm>
            <a:off x="547843" y="1221404"/>
            <a:ext cx="3362064" cy="4874994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de-CH" sz="1400" dirty="0" err="1">
              <a:solidFill>
                <a:schemeClr val="tx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88AF874D-8C32-4F3B-9B75-D5242995E3A1}"/>
              </a:ext>
            </a:extLst>
          </p:cNvPr>
          <p:cNvSpPr/>
          <p:nvPr/>
        </p:nvSpPr>
        <p:spPr>
          <a:xfrm>
            <a:off x="585626" y="1288329"/>
            <a:ext cx="3362064" cy="4874994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de-CH" sz="1400" dirty="0" err="1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A3A1F1C7-93F3-421B-AFE0-58AA03B5A1B2}"/>
              </a:ext>
            </a:extLst>
          </p:cNvPr>
          <p:cNvSpPr/>
          <p:nvPr/>
        </p:nvSpPr>
        <p:spPr>
          <a:xfrm>
            <a:off x="623409" y="1355254"/>
            <a:ext cx="3362064" cy="4874994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de-CH" sz="1400" dirty="0" err="1">
              <a:solidFill>
                <a:schemeClr val="tx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172DCC79-A49F-4DDE-A351-23385815223A}"/>
              </a:ext>
            </a:extLst>
          </p:cNvPr>
          <p:cNvSpPr/>
          <p:nvPr/>
        </p:nvSpPr>
        <p:spPr>
          <a:xfrm>
            <a:off x="661191" y="1422180"/>
            <a:ext cx="3362064" cy="4874994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de-CH" sz="1400" dirty="0" err="1">
              <a:solidFill>
                <a:schemeClr val="tx1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B85D09D3-6333-4110-B805-F289069EA0C4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8522" y="1499154"/>
            <a:ext cx="3362064" cy="48749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932579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xmlns="" id="{20781EC4-13C3-4ADA-97AB-8661164912C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263524" y="1737520"/>
            <a:ext cx="5608758" cy="4607718"/>
          </a:xfrm>
        </p:spPr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xmlns="" id="{4E534B1B-C461-4D16-AF1D-13FB163B6710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312732" y="1737520"/>
            <a:ext cx="5608758" cy="4607718"/>
          </a:xfrm>
        </p:spPr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xmlns="" id="{92FCA0F3-FCA8-4380-A596-DCD333BB4CA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67017" y="1124744"/>
            <a:ext cx="5608759" cy="612776"/>
          </a:xfrm>
        </p:spPr>
        <p:txBody>
          <a:bodyPr/>
          <a:lstStyle/>
          <a:p>
            <a:r>
              <a:rPr lang="de-CH" b="1" dirty="0"/>
              <a:t>The </a:t>
            </a:r>
            <a:r>
              <a:rPr lang="de-CH" b="1" dirty="0" err="1"/>
              <a:t>grid</a:t>
            </a:r>
            <a:r>
              <a:rPr lang="de-CH" b="1" dirty="0"/>
              <a:t> </a:t>
            </a:r>
            <a:r>
              <a:rPr lang="de-CH" b="1" dirty="0" err="1"/>
              <a:t>today</a:t>
            </a:r>
            <a:r>
              <a:rPr lang="de-CH" b="1" dirty="0"/>
              <a:t>…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xmlns="" id="{6B83B1F5-C314-4247-B926-8338A49A297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316224" y="1124744"/>
            <a:ext cx="5608759" cy="612776"/>
          </a:xfrm>
        </p:spPr>
        <p:txBody>
          <a:bodyPr/>
          <a:lstStyle/>
          <a:p>
            <a:r>
              <a:rPr lang="de-CH" b="1" dirty="0"/>
              <a:t>The </a:t>
            </a:r>
            <a:r>
              <a:rPr lang="de-CH" b="1" dirty="0" err="1"/>
              <a:t>future</a:t>
            </a:r>
            <a:r>
              <a:rPr lang="de-CH" b="1" dirty="0"/>
              <a:t> </a:t>
            </a:r>
            <a:r>
              <a:rPr lang="de-CH" b="1" dirty="0" err="1"/>
              <a:t>grid</a:t>
            </a:r>
            <a:r>
              <a:rPr lang="de-CH" b="1" dirty="0"/>
              <a:t> in 15 </a:t>
            </a:r>
            <a:r>
              <a:rPr lang="de-CH" b="1" dirty="0" err="1"/>
              <a:t>years</a:t>
            </a:r>
            <a:r>
              <a:rPr lang="de-CH" b="1" dirty="0"/>
              <a:t>…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xmlns="" id="{3A612391-4529-4160-99A7-0FBF257E0C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Power electronics enabling carbon-neutral energy landscap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7BE305E4-CAD4-4588-9485-382E4268EDA1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>
          <a:xfrm>
            <a:off x="3416400" y="6456496"/>
            <a:ext cx="6688800" cy="234000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2997CE63-BE5A-4A67-AD96-FE3DA4801277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C24EC536-6FE3-4540-8D85-74C58F0BF697}" type="slidenum">
              <a:rPr lang="en-US" smtClean="0"/>
              <a:pPr/>
              <a:t>3</a:t>
            </a:fld>
            <a:endParaRPr lang="en-US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xmlns="" id="{8427D255-E57B-4EB6-B327-96EA497D0E3C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60261" y="1961011"/>
            <a:ext cx="5615515" cy="2805348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BB495B1E-6FEA-4B43-97B6-604E288315D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08308" y="1961011"/>
            <a:ext cx="5608463" cy="2805348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5" name="Text Placeholder 16">
            <a:extLst>
              <a:ext uri="{FF2B5EF4-FFF2-40B4-BE49-F238E27FC236}">
                <a16:creationId xmlns:a16="http://schemas.microsoft.com/office/drawing/2014/main" xmlns="" id="{27483FB9-AF8D-4103-A469-7C964323D1B1}"/>
              </a:ext>
            </a:extLst>
          </p:cNvPr>
          <p:cNvSpPr txBox="1">
            <a:spLocks/>
          </p:cNvSpPr>
          <p:nvPr/>
        </p:nvSpPr>
        <p:spPr bwMode="gray">
          <a:xfrm>
            <a:off x="263523" y="5373287"/>
            <a:ext cx="11664951" cy="45318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72000" tIns="72000" rIns="72000" bIns="72000" rtlCol="0" anchor="t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CH" sz="2000" dirty="0"/>
              <a:t>Less</a:t>
            </a:r>
            <a:r>
              <a:rPr lang="de-CH" dirty="0">
                <a:solidFill>
                  <a:schemeClr val="tx1"/>
                </a:solidFill>
              </a:rPr>
              <a:t> carbon</a:t>
            </a:r>
            <a:r>
              <a:rPr lang="de-CH" baseline="30000" dirty="0">
                <a:solidFill>
                  <a:schemeClr val="tx1"/>
                </a:solidFill>
              </a:rPr>
              <a:t>1</a:t>
            </a:r>
            <a:r>
              <a:rPr lang="de-CH" dirty="0">
                <a:solidFill>
                  <a:schemeClr val="tx1"/>
                </a:solidFill>
              </a:rPr>
              <a:t> &gt; </a:t>
            </a:r>
            <a:r>
              <a:rPr lang="de-CH" sz="2000" dirty="0"/>
              <a:t>More</a:t>
            </a:r>
            <a:r>
              <a:rPr lang="de-CH" dirty="0">
                <a:solidFill>
                  <a:schemeClr val="tx1"/>
                </a:solidFill>
              </a:rPr>
              <a:t> </a:t>
            </a:r>
            <a:r>
              <a:rPr lang="de-CH" dirty="0" err="1">
                <a:solidFill>
                  <a:schemeClr val="tx1"/>
                </a:solidFill>
              </a:rPr>
              <a:t>renewables</a:t>
            </a:r>
            <a:r>
              <a:rPr lang="de-CH" dirty="0">
                <a:solidFill>
                  <a:schemeClr val="tx1"/>
                </a:solidFill>
              </a:rPr>
              <a:t> &gt; </a:t>
            </a:r>
            <a:r>
              <a:rPr lang="de-CH" sz="2000" dirty="0"/>
              <a:t>More</a:t>
            </a:r>
            <a:r>
              <a:rPr lang="de-CH" dirty="0">
                <a:solidFill>
                  <a:schemeClr val="tx1"/>
                </a:solidFill>
              </a:rPr>
              <a:t> </a:t>
            </a:r>
            <a:r>
              <a:rPr lang="de-CH" dirty="0" err="1">
                <a:solidFill>
                  <a:schemeClr val="tx1"/>
                </a:solidFill>
              </a:rPr>
              <a:t>variability</a:t>
            </a:r>
            <a:r>
              <a:rPr lang="de-CH" dirty="0">
                <a:solidFill>
                  <a:schemeClr val="tx1"/>
                </a:solidFill>
              </a:rPr>
              <a:t> &gt; </a:t>
            </a:r>
            <a:r>
              <a:rPr lang="de-CH" sz="2000" dirty="0"/>
              <a:t>More</a:t>
            </a:r>
            <a:r>
              <a:rPr lang="de-CH" sz="2000" dirty="0">
                <a:solidFill>
                  <a:schemeClr val="tx1"/>
                </a:solidFill>
              </a:rPr>
              <a:t> </a:t>
            </a:r>
            <a:r>
              <a:rPr lang="de-CH" dirty="0">
                <a:solidFill>
                  <a:schemeClr val="tx1"/>
                </a:solidFill>
              </a:rPr>
              <a:t>power </a:t>
            </a:r>
            <a:r>
              <a:rPr lang="de-CH" dirty="0" err="1">
                <a:solidFill>
                  <a:schemeClr val="tx1"/>
                </a:solidFill>
              </a:rPr>
              <a:t>quality</a:t>
            </a:r>
            <a:r>
              <a:rPr lang="de-CH" dirty="0">
                <a:solidFill>
                  <a:schemeClr val="tx1"/>
                </a:solidFill>
              </a:rPr>
              <a:t> </a:t>
            </a:r>
            <a:r>
              <a:rPr lang="de-CH" dirty="0" err="1">
                <a:solidFill>
                  <a:schemeClr val="tx1"/>
                </a:solidFill>
              </a:rPr>
              <a:t>need</a:t>
            </a:r>
            <a:r>
              <a:rPr lang="de-CH" dirty="0">
                <a:solidFill>
                  <a:schemeClr val="tx1"/>
                </a:solidFill>
              </a:rPr>
              <a:t> &gt; </a:t>
            </a:r>
            <a:r>
              <a:rPr lang="de-CH" sz="2000" dirty="0"/>
              <a:t>More</a:t>
            </a:r>
            <a:r>
              <a:rPr lang="de-CH" dirty="0">
                <a:solidFill>
                  <a:schemeClr val="tx1"/>
                </a:solidFill>
              </a:rPr>
              <a:t> power electronics </a:t>
            </a:r>
            <a:r>
              <a:rPr lang="de-CH" dirty="0" err="1">
                <a:solidFill>
                  <a:schemeClr val="tx1"/>
                </a:solidFill>
              </a:rPr>
              <a:t>devices</a:t>
            </a:r>
            <a:endParaRPr lang="de-CH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67731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4" name="Bildobjekt 9">
            <a:extLst>
              <a:ext uri="{FF2B5EF4-FFF2-40B4-BE49-F238E27FC236}">
                <a16:creationId xmlns:a16="http://schemas.microsoft.com/office/drawing/2014/main" xmlns="" id="{20D14DD4-D491-D642-96A3-29CBF0E0B757}"/>
              </a:ext>
            </a:extLst>
          </p:cNvPr>
          <p:cNvPicPr>
            <a:picLocks noChangeAspect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3839" y="2075544"/>
            <a:ext cx="5041900" cy="3860800"/>
          </a:xfrm>
          <a:prstGeom prst="rect">
            <a:avLst/>
          </a:prstGeom>
        </p:spPr>
      </p:pic>
      <p:pic>
        <p:nvPicPr>
          <p:cNvPr id="23" name="Picture 95">
            <a:extLst>
              <a:ext uri="{FF2B5EF4-FFF2-40B4-BE49-F238E27FC236}">
                <a16:creationId xmlns:a16="http://schemas.microsoft.com/office/drawing/2014/main" xmlns="" id="{70AD4C31-C0A2-4FF2-9F02-DD6417D6E722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21"/>
              </a:ext>
            </a:extLst>
          </a:blip>
          <a:srcRect/>
          <a:stretch>
            <a:fillRect/>
          </a:stretch>
        </p:blipFill>
        <p:spPr>
          <a:xfrm>
            <a:off x="2088340" y="5589884"/>
            <a:ext cx="466726" cy="466726"/>
          </a:xfrm>
          <a:prstGeom prst="rect">
            <a:avLst/>
          </a:prstGeom>
        </p:spPr>
      </p:pic>
      <p:pic>
        <p:nvPicPr>
          <p:cNvPr id="25" name="Picture 179">
            <a:extLst>
              <a:ext uri="{FF2B5EF4-FFF2-40B4-BE49-F238E27FC236}">
                <a16:creationId xmlns:a16="http://schemas.microsoft.com/office/drawing/2014/main" xmlns="" id="{7D474183-CA63-491F-9D24-A6FE87AE7B6C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21"/>
              </a:ext>
            </a:extLst>
          </a:blip>
          <a:srcRect/>
          <a:stretch>
            <a:fillRect/>
          </a:stretch>
        </p:blipFill>
        <p:spPr>
          <a:xfrm>
            <a:off x="2080880" y="3210457"/>
            <a:ext cx="466726" cy="466726"/>
          </a:xfrm>
          <a:prstGeom prst="rect">
            <a:avLst/>
          </a:prstGeom>
        </p:spPr>
      </p:pic>
      <p:pic>
        <p:nvPicPr>
          <p:cNvPr id="28" name="Graphic 27">
            <a:extLst>
              <a:ext uri="{FF2B5EF4-FFF2-40B4-BE49-F238E27FC236}">
                <a16:creationId xmlns:a16="http://schemas.microsoft.com/office/drawing/2014/main" xmlns="" id="{4351C9B9-E5A2-442B-8DAF-A45497D13F20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2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23"/>
              </a:ext>
            </a:extLst>
          </a:blip>
          <a:srcRect/>
          <a:stretch>
            <a:fillRect/>
          </a:stretch>
        </p:blipFill>
        <p:spPr>
          <a:xfrm>
            <a:off x="1175139" y="3950336"/>
            <a:ext cx="466725" cy="466725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xmlns="" id="{1B0D2865-803E-4C47-8F1B-C65A4B0BB63D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2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25"/>
              </a:ext>
            </a:extLst>
          </a:blip>
          <a:srcRect/>
          <a:stretch>
            <a:fillRect/>
          </a:stretch>
        </p:blipFill>
        <p:spPr>
          <a:xfrm>
            <a:off x="342547" y="3278262"/>
            <a:ext cx="466725" cy="466725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xmlns="" id="{AF4B4602-E59D-4983-9A6A-7829451F0048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2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27"/>
              </a:ext>
            </a:extLst>
          </a:blip>
          <a:srcRect/>
          <a:stretch>
            <a:fillRect/>
          </a:stretch>
        </p:blipFill>
        <p:spPr>
          <a:xfrm>
            <a:off x="280634" y="2677329"/>
            <a:ext cx="466725" cy="466725"/>
          </a:xfrm>
          <a:prstGeom prst="rect">
            <a:avLst/>
          </a:prstGeom>
        </p:spPr>
      </p:pic>
      <p:pic>
        <p:nvPicPr>
          <p:cNvPr id="16" name="Graphic 15">
            <a:extLst>
              <a:ext uri="{FF2B5EF4-FFF2-40B4-BE49-F238E27FC236}">
                <a16:creationId xmlns:a16="http://schemas.microsoft.com/office/drawing/2014/main" xmlns="" id="{3F6641E7-EBCF-497F-8D61-A6299D454C4A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28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29"/>
              </a:ext>
            </a:extLst>
          </a:blip>
          <a:srcRect/>
          <a:stretch>
            <a:fillRect/>
          </a:stretch>
        </p:blipFill>
        <p:spPr>
          <a:xfrm>
            <a:off x="2082391" y="2054997"/>
            <a:ext cx="466725" cy="466725"/>
          </a:xfrm>
          <a:prstGeom prst="rect">
            <a:avLst/>
          </a:prstGeom>
        </p:spPr>
      </p:pic>
      <p:pic>
        <p:nvPicPr>
          <p:cNvPr id="12" name="Graphic 11">
            <a:extLst>
              <a:ext uri="{FF2B5EF4-FFF2-40B4-BE49-F238E27FC236}">
                <a16:creationId xmlns:a16="http://schemas.microsoft.com/office/drawing/2014/main" xmlns="" id="{83D0CA30-EA38-420D-A670-E5E8C51B8DB6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30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1"/>
              </a:ext>
            </a:extLst>
          </a:blip>
          <a:srcRect/>
          <a:stretch>
            <a:fillRect/>
          </a:stretch>
        </p:blipFill>
        <p:spPr>
          <a:xfrm>
            <a:off x="298007" y="2054999"/>
            <a:ext cx="466725" cy="466725"/>
          </a:xfrm>
          <a:prstGeom prst="rect">
            <a:avLst/>
          </a:prstGeom>
        </p:spPr>
      </p:pic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32" imgW="353" imgH="363" progId="TCLayout.ActiveDocument.1">
                  <p:embed/>
                </p:oleObj>
              </mc:Choice>
              <mc:Fallback>
                <p:oleObj name="think-cell Slide" r:id="rId32" imgW="353" imgH="363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1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endParaRPr lang="en-US" sz="160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r>
              <a:rPr lang="en-US" dirty="0"/>
              <a:t>Storage within a region vs. Interconnecting two regions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en-US" dirty="0"/>
              <a:t>Optimal Mix – Fraction of Storage vs. Interconnection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re is a need for hybrid solutions – DC transmission &amp; Storage</a:t>
            </a:r>
            <a:br>
              <a:rPr lang="en-US" dirty="0"/>
            </a:br>
            <a:r>
              <a:rPr lang="en-US" sz="1600" b="0" dirty="0"/>
              <a:t>Both are essential to meet demand in a world of renewables</a:t>
            </a:r>
          </a:p>
        </p:txBody>
      </p:sp>
      <p:sp>
        <p:nvSpPr>
          <p:cNvPr id="135" name="Text Box 6">
            <a:extLst>
              <a:ext uri="{FF2B5EF4-FFF2-40B4-BE49-F238E27FC236}">
                <a16:creationId xmlns:a16="http://schemas.microsoft.com/office/drawing/2014/main" xmlns="" id="{092BFBE5-408D-0146-B56E-898A953C5D6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23664" y="2204105"/>
            <a:ext cx="460589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>
              <a:spcBef>
                <a:spcPct val="50000"/>
              </a:spcBef>
              <a:buClr>
                <a:schemeClr val="tx2"/>
              </a:buClr>
              <a:buSzPct val="70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50000"/>
              </a:spcBef>
              <a:buClr>
                <a:schemeClr val="tx2"/>
              </a:buClr>
              <a:buSzPct val="70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50000"/>
              </a:spcBef>
              <a:buClr>
                <a:schemeClr val="tx2"/>
              </a:buClr>
              <a:buSzPct val="7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50000"/>
              </a:spcBef>
              <a:buClr>
                <a:schemeClr val="tx2"/>
              </a:buClr>
              <a:buSzPct val="7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50000"/>
              </a:spcBef>
              <a:buClr>
                <a:schemeClr val="tx2"/>
              </a:buClr>
              <a:buSzPct val="7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ClrTx/>
              <a:buSzTx/>
              <a:buFontTx/>
              <a:buNone/>
            </a:pPr>
            <a:r>
              <a:rPr lang="en" altLang="en-US" sz="800" dirty="0">
                <a:solidFill>
                  <a:srgbClr val="000000"/>
                </a:solidFill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Power</a:t>
            </a:r>
          </a:p>
        </p:txBody>
      </p:sp>
      <p:sp>
        <p:nvSpPr>
          <p:cNvPr id="136" name="Text Box 6">
            <a:extLst>
              <a:ext uri="{FF2B5EF4-FFF2-40B4-BE49-F238E27FC236}">
                <a16:creationId xmlns:a16="http://schemas.microsoft.com/office/drawing/2014/main" xmlns="" id="{B3AF87C3-6278-1449-AA78-9433BD7A0E1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23664" y="4304509"/>
            <a:ext cx="460589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>
              <a:spcBef>
                <a:spcPct val="50000"/>
              </a:spcBef>
              <a:buClr>
                <a:schemeClr val="tx2"/>
              </a:buClr>
              <a:buSzPct val="70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50000"/>
              </a:spcBef>
              <a:buClr>
                <a:schemeClr val="tx2"/>
              </a:buClr>
              <a:buSzPct val="70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50000"/>
              </a:spcBef>
              <a:buClr>
                <a:schemeClr val="tx2"/>
              </a:buClr>
              <a:buSzPct val="7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50000"/>
              </a:spcBef>
              <a:buClr>
                <a:schemeClr val="tx2"/>
              </a:buClr>
              <a:buSzPct val="7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50000"/>
              </a:spcBef>
              <a:buClr>
                <a:schemeClr val="tx2"/>
              </a:buClr>
              <a:buSzPct val="7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ClrTx/>
              <a:buSzTx/>
              <a:buFontTx/>
              <a:buNone/>
            </a:pPr>
            <a:r>
              <a:rPr lang="en" altLang="en-US" sz="800" dirty="0">
                <a:solidFill>
                  <a:srgbClr val="000000"/>
                </a:solidFill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Power</a:t>
            </a:r>
          </a:p>
        </p:txBody>
      </p:sp>
      <p:sp>
        <p:nvSpPr>
          <p:cNvPr id="137" name="Text Box 6">
            <a:extLst>
              <a:ext uri="{FF2B5EF4-FFF2-40B4-BE49-F238E27FC236}">
                <a16:creationId xmlns:a16="http://schemas.microsoft.com/office/drawing/2014/main" xmlns="" id="{9B72CE57-BF3E-7D47-BD35-D19664351A9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466864" y="5988454"/>
            <a:ext cx="460589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>
              <a:spcBef>
                <a:spcPct val="50000"/>
              </a:spcBef>
              <a:buClr>
                <a:schemeClr val="tx2"/>
              </a:buClr>
              <a:buSzPct val="70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50000"/>
              </a:spcBef>
              <a:buClr>
                <a:schemeClr val="tx2"/>
              </a:buClr>
              <a:buSzPct val="70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50000"/>
              </a:spcBef>
              <a:buClr>
                <a:schemeClr val="tx2"/>
              </a:buClr>
              <a:buSzPct val="7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50000"/>
              </a:spcBef>
              <a:buClr>
                <a:schemeClr val="tx2"/>
              </a:buClr>
              <a:buSzPct val="7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50000"/>
              </a:spcBef>
              <a:buClr>
                <a:schemeClr val="tx2"/>
              </a:buClr>
              <a:buSzPct val="7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ClrTx/>
              <a:buSzTx/>
              <a:buFontTx/>
              <a:buNone/>
            </a:pPr>
            <a:r>
              <a:rPr lang="en" altLang="en-US" sz="800" dirty="0">
                <a:solidFill>
                  <a:srgbClr val="000000"/>
                </a:solidFill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Time</a:t>
            </a:r>
          </a:p>
        </p:txBody>
      </p:sp>
      <p:pic>
        <p:nvPicPr>
          <p:cNvPr id="151" name="Bild 31">
            <a:extLst>
              <a:ext uri="{FF2B5EF4-FFF2-40B4-BE49-F238E27FC236}">
                <a16:creationId xmlns:a16="http://schemas.microsoft.com/office/drawing/2014/main" xmlns="" id="{6EF7F2CB-AC7F-304E-896C-A1B951295770}"/>
              </a:ext>
            </a:extLst>
          </p:cNvPr>
          <p:cNvPicPr>
            <a:picLocks noChangeAspect="1"/>
          </p:cNvPicPr>
          <p:nvPr/>
        </p:nvPicPr>
        <p:blipFill>
          <a:blip r:embed="rId3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5"/>
              </a:ext>
            </a:extLst>
          </a:blip>
          <a:stretch>
            <a:fillRect/>
          </a:stretch>
        </p:blipFill>
        <p:spPr>
          <a:xfrm>
            <a:off x="3932499" y="2169401"/>
            <a:ext cx="228600" cy="228600"/>
          </a:xfrm>
          <a:prstGeom prst="rect">
            <a:avLst/>
          </a:prstGeom>
        </p:spPr>
      </p:pic>
      <p:pic>
        <p:nvPicPr>
          <p:cNvPr id="154" name="Bild 16">
            <a:extLst>
              <a:ext uri="{FF2B5EF4-FFF2-40B4-BE49-F238E27FC236}">
                <a16:creationId xmlns:a16="http://schemas.microsoft.com/office/drawing/2014/main" xmlns="" id="{77CF841B-2D35-48A9-8A81-0FB470821F54}"/>
              </a:ext>
            </a:extLst>
          </p:cNvPr>
          <p:cNvPicPr>
            <a:picLocks noChangeAspect="1"/>
          </p:cNvPicPr>
          <p:nvPr/>
        </p:nvPicPr>
        <p:blipFill>
          <a:blip r:embed="rId3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7"/>
              </a:ext>
            </a:extLst>
          </a:blip>
          <a:stretch>
            <a:fillRect/>
          </a:stretch>
        </p:blipFill>
        <p:spPr>
          <a:xfrm>
            <a:off x="2896560" y="3863172"/>
            <a:ext cx="205474" cy="205474"/>
          </a:xfrm>
          <a:prstGeom prst="rect">
            <a:avLst/>
          </a:prstGeom>
        </p:spPr>
      </p:pic>
      <p:pic>
        <p:nvPicPr>
          <p:cNvPr id="155" name="Bild 16">
            <a:extLst>
              <a:ext uri="{FF2B5EF4-FFF2-40B4-BE49-F238E27FC236}">
                <a16:creationId xmlns:a16="http://schemas.microsoft.com/office/drawing/2014/main" xmlns="" id="{D3703AC0-A04D-4F09-96B3-DCF83936E4EB}"/>
              </a:ext>
            </a:extLst>
          </p:cNvPr>
          <p:cNvPicPr>
            <a:picLocks noChangeAspect="1"/>
          </p:cNvPicPr>
          <p:nvPr/>
        </p:nvPicPr>
        <p:blipFill>
          <a:blip r:embed="rId3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7"/>
              </a:ext>
            </a:extLst>
          </a:blip>
          <a:stretch>
            <a:fillRect/>
          </a:stretch>
        </p:blipFill>
        <p:spPr>
          <a:xfrm>
            <a:off x="3672962" y="3836804"/>
            <a:ext cx="205474" cy="205474"/>
          </a:xfrm>
          <a:prstGeom prst="rect">
            <a:avLst/>
          </a:prstGeom>
        </p:spPr>
      </p:pic>
      <p:pic>
        <p:nvPicPr>
          <p:cNvPr id="156" name="Bild 16">
            <a:extLst>
              <a:ext uri="{FF2B5EF4-FFF2-40B4-BE49-F238E27FC236}">
                <a16:creationId xmlns:a16="http://schemas.microsoft.com/office/drawing/2014/main" xmlns="" id="{2FFF47B9-226C-4EAC-8AFE-9941423C545E}"/>
              </a:ext>
            </a:extLst>
          </p:cNvPr>
          <p:cNvPicPr>
            <a:picLocks noChangeAspect="1"/>
          </p:cNvPicPr>
          <p:nvPr/>
        </p:nvPicPr>
        <p:blipFill>
          <a:blip r:embed="rId3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7"/>
              </a:ext>
            </a:extLst>
          </a:blip>
          <a:stretch>
            <a:fillRect/>
          </a:stretch>
        </p:blipFill>
        <p:spPr>
          <a:xfrm>
            <a:off x="4504638" y="3863172"/>
            <a:ext cx="205474" cy="205474"/>
          </a:xfrm>
          <a:prstGeom prst="rect">
            <a:avLst/>
          </a:prstGeom>
        </p:spPr>
      </p:pic>
      <p:pic>
        <p:nvPicPr>
          <p:cNvPr id="157" name="Bild 16">
            <a:extLst>
              <a:ext uri="{FF2B5EF4-FFF2-40B4-BE49-F238E27FC236}">
                <a16:creationId xmlns:a16="http://schemas.microsoft.com/office/drawing/2014/main" xmlns="" id="{98B5B79B-A911-4AC7-A150-87CAD147B44A}"/>
              </a:ext>
            </a:extLst>
          </p:cNvPr>
          <p:cNvPicPr>
            <a:picLocks noChangeAspect="1"/>
          </p:cNvPicPr>
          <p:nvPr/>
        </p:nvPicPr>
        <p:blipFill>
          <a:blip r:embed="rId3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7"/>
              </a:ext>
            </a:extLst>
          </a:blip>
          <a:stretch>
            <a:fillRect/>
          </a:stretch>
        </p:blipFill>
        <p:spPr>
          <a:xfrm>
            <a:off x="5276421" y="3836804"/>
            <a:ext cx="205474" cy="205474"/>
          </a:xfrm>
          <a:prstGeom prst="rect">
            <a:avLst/>
          </a:prstGeom>
        </p:spPr>
      </p:pic>
      <p:grpSp>
        <p:nvGrpSpPr>
          <p:cNvPr id="158" name="Group 157"/>
          <p:cNvGrpSpPr/>
          <p:nvPr/>
        </p:nvGrpSpPr>
        <p:grpSpPr>
          <a:xfrm>
            <a:off x="6437012" y="1994800"/>
            <a:ext cx="5450188" cy="4175601"/>
            <a:chOff x="6437012" y="2483867"/>
            <a:chExt cx="5186495" cy="3455412"/>
          </a:xfrm>
        </p:grpSpPr>
        <p:pic>
          <p:nvPicPr>
            <p:cNvPr id="159" name="Bildobjekt 42">
              <a:extLst>
                <a:ext uri="{FF2B5EF4-FFF2-40B4-BE49-F238E27FC236}">
                  <a16:creationId xmlns:a16="http://schemas.microsoft.com/office/drawing/2014/main" xmlns="" id="{8C331864-2A87-2841-A057-FE2196D6B035}"/>
                </a:ext>
              </a:extLst>
            </p:cNvPr>
            <p:cNvPicPr>
              <a:picLocks noChangeAspect="1"/>
            </p:cNvPicPr>
            <p:nvPr/>
          </p:nvPicPr>
          <p:blipFill>
            <a:blip r:embed="rId38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437012" y="2764474"/>
              <a:ext cx="5186495" cy="2974177"/>
            </a:xfrm>
            <a:prstGeom prst="rect">
              <a:avLst/>
            </a:prstGeom>
          </p:spPr>
        </p:pic>
        <p:sp>
          <p:nvSpPr>
            <p:cNvPr id="160" name="Text Box 6">
              <a:extLst>
                <a:ext uri="{FF2B5EF4-FFF2-40B4-BE49-F238E27FC236}">
                  <a16:creationId xmlns:a16="http://schemas.microsoft.com/office/drawing/2014/main" xmlns="" id="{2D075F27-42BB-5044-86A4-BCA821E96E1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017575" y="3457163"/>
              <a:ext cx="1501736" cy="1400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spcBef>
                  <a:spcPct val="50000"/>
                </a:spcBef>
                <a:buClr>
                  <a:schemeClr val="tx2"/>
                </a:buClr>
                <a:buSzPct val="70000"/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50000"/>
                </a:spcBef>
                <a:buClr>
                  <a:schemeClr val="tx2"/>
                </a:buClr>
                <a:buSzPct val="70000"/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50000"/>
                </a:spcBef>
                <a:buClr>
                  <a:schemeClr val="tx2"/>
                </a:buClr>
                <a:buSzPct val="70000"/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50000"/>
                </a:spcBef>
                <a:buClr>
                  <a:schemeClr val="tx2"/>
                </a:buClr>
                <a:buSzPct val="70000"/>
                <a:buFont typeface="Wingdings" panose="05000000000000000000" pitchFamily="2" charset="2"/>
                <a:buChar char="§"/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50000"/>
                </a:spcBef>
                <a:buClr>
                  <a:schemeClr val="tx2"/>
                </a:buClr>
                <a:buSzPct val="70000"/>
                <a:buFont typeface="Wingdings" panose="05000000000000000000" pitchFamily="2" charset="2"/>
                <a:buChar char="§"/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0000"/>
                <a:buFont typeface="Wingdings" panose="05000000000000000000" pitchFamily="2" charset="2"/>
                <a:buChar char="§"/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0000"/>
                <a:buFont typeface="Wingdings" panose="05000000000000000000" pitchFamily="2" charset="2"/>
                <a:buChar char="§"/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0000"/>
                <a:buFont typeface="Wingdings" panose="05000000000000000000" pitchFamily="2" charset="2"/>
                <a:buChar char="§"/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0000"/>
                <a:buFont typeface="Wingdings" panose="05000000000000000000" pitchFamily="2" charset="2"/>
                <a:buChar char="§"/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Tx/>
                <a:buSzTx/>
                <a:buNone/>
              </a:pPr>
              <a:r>
                <a:rPr lang="sv-SE" altLang="en-US" sz="1100" dirty="0" err="1">
                  <a:solidFill>
                    <a:srgbClr val="000000"/>
                  </a:solidFill>
                  <a:latin typeface="+mn-lt"/>
                  <a:ea typeface="ABBvoice" panose="020D0603020503020204" pitchFamily="34" charset="0"/>
                  <a:cs typeface="ABBvoice" panose="020D0603020503020204" pitchFamily="34" charset="0"/>
                </a:rPr>
                <a:t>Storage</a:t>
              </a:r>
              <a:r>
                <a:rPr lang="sv-SE" altLang="en-US" sz="1100" dirty="0">
                  <a:solidFill>
                    <a:srgbClr val="000000"/>
                  </a:solidFill>
                  <a:latin typeface="+mn-lt"/>
                  <a:ea typeface="ABBvoice" panose="020D0603020503020204" pitchFamily="34" charset="0"/>
                  <a:cs typeface="ABBvoice" panose="020D0603020503020204" pitchFamily="34" charset="0"/>
                </a:rPr>
                <a:t> is </a:t>
              </a:r>
              <a:r>
                <a:rPr lang="sv-SE" altLang="en-US" sz="1100" dirty="0" err="1">
                  <a:solidFill>
                    <a:srgbClr val="000000"/>
                  </a:solidFill>
                  <a:latin typeface="+mn-lt"/>
                  <a:ea typeface="ABBvoice" panose="020D0603020503020204" pitchFamily="34" charset="0"/>
                  <a:cs typeface="ABBvoice" panose="020D0603020503020204" pitchFamily="34" charset="0"/>
                </a:rPr>
                <a:t>preferred</a:t>
              </a:r>
              <a:endParaRPr lang="en-US" altLang="en-US" sz="1100" dirty="0">
                <a:solidFill>
                  <a:srgbClr val="000000"/>
                </a:solidFill>
                <a:latin typeface="+mn-lt"/>
                <a:ea typeface="ABBvoice" panose="020D0603020503020204" pitchFamily="34" charset="0"/>
                <a:cs typeface="ABBvoice" panose="020D0603020503020204" pitchFamily="34" charset="0"/>
              </a:endParaRPr>
            </a:p>
          </p:txBody>
        </p:sp>
        <p:sp>
          <p:nvSpPr>
            <p:cNvPr id="161" name="Text Box 6">
              <a:extLst>
                <a:ext uri="{FF2B5EF4-FFF2-40B4-BE49-F238E27FC236}">
                  <a16:creationId xmlns:a16="http://schemas.microsoft.com/office/drawing/2014/main" xmlns="" id="{CC8368E5-CC4C-194E-839E-5787A524761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968211" y="4532393"/>
              <a:ext cx="1964602" cy="1400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spcBef>
                  <a:spcPct val="50000"/>
                </a:spcBef>
                <a:buClr>
                  <a:schemeClr val="tx2"/>
                </a:buClr>
                <a:buSzPct val="70000"/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50000"/>
                </a:spcBef>
                <a:buClr>
                  <a:schemeClr val="tx2"/>
                </a:buClr>
                <a:buSzPct val="70000"/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50000"/>
                </a:spcBef>
                <a:buClr>
                  <a:schemeClr val="tx2"/>
                </a:buClr>
                <a:buSzPct val="70000"/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50000"/>
                </a:spcBef>
                <a:buClr>
                  <a:schemeClr val="tx2"/>
                </a:buClr>
                <a:buSzPct val="70000"/>
                <a:buFont typeface="Wingdings" panose="05000000000000000000" pitchFamily="2" charset="2"/>
                <a:buChar char="§"/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50000"/>
                </a:spcBef>
                <a:buClr>
                  <a:schemeClr val="tx2"/>
                </a:buClr>
                <a:buSzPct val="70000"/>
                <a:buFont typeface="Wingdings" panose="05000000000000000000" pitchFamily="2" charset="2"/>
                <a:buChar char="§"/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0000"/>
                <a:buFont typeface="Wingdings" panose="05000000000000000000" pitchFamily="2" charset="2"/>
                <a:buChar char="§"/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0000"/>
                <a:buFont typeface="Wingdings" panose="05000000000000000000" pitchFamily="2" charset="2"/>
                <a:buChar char="§"/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0000"/>
                <a:buFont typeface="Wingdings" panose="05000000000000000000" pitchFamily="2" charset="2"/>
                <a:buChar char="§"/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0000"/>
                <a:buFont typeface="Wingdings" panose="05000000000000000000" pitchFamily="2" charset="2"/>
                <a:buChar char="§"/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Tx/>
                <a:buSzTx/>
                <a:buNone/>
              </a:pPr>
              <a:r>
                <a:rPr lang="sv-SE" altLang="en-US" sz="1100" dirty="0" err="1">
                  <a:solidFill>
                    <a:srgbClr val="000000"/>
                  </a:solidFill>
                  <a:latin typeface="+mn-lt"/>
                  <a:ea typeface="ABBvoice" panose="020D0603020503020204" pitchFamily="34" charset="0"/>
                  <a:cs typeface="ABBvoice" panose="020D0603020503020204" pitchFamily="34" charset="0"/>
                </a:rPr>
                <a:t>Interconnection</a:t>
              </a:r>
              <a:r>
                <a:rPr lang="sv-SE" altLang="en-US" sz="1100" dirty="0">
                  <a:solidFill>
                    <a:srgbClr val="000000"/>
                  </a:solidFill>
                  <a:latin typeface="+mn-lt"/>
                  <a:ea typeface="ABBvoice" panose="020D0603020503020204" pitchFamily="34" charset="0"/>
                  <a:cs typeface="ABBvoice" panose="020D0603020503020204" pitchFamily="34" charset="0"/>
                </a:rPr>
                <a:t> is </a:t>
              </a:r>
              <a:r>
                <a:rPr lang="sv-SE" altLang="en-US" sz="1100" dirty="0" err="1">
                  <a:solidFill>
                    <a:srgbClr val="000000"/>
                  </a:solidFill>
                  <a:latin typeface="+mn-lt"/>
                  <a:ea typeface="ABBvoice" panose="020D0603020503020204" pitchFamily="34" charset="0"/>
                  <a:cs typeface="ABBvoice" panose="020D0603020503020204" pitchFamily="34" charset="0"/>
                </a:rPr>
                <a:t>preferred</a:t>
              </a:r>
              <a:endParaRPr lang="en-US" altLang="en-US" sz="1100" dirty="0">
                <a:solidFill>
                  <a:srgbClr val="000000"/>
                </a:solidFill>
                <a:latin typeface="+mn-lt"/>
                <a:ea typeface="ABBvoice" panose="020D0603020503020204" pitchFamily="34" charset="0"/>
                <a:cs typeface="ABBvoice" panose="020D0603020503020204" pitchFamily="34" charset="0"/>
              </a:endParaRPr>
            </a:p>
          </p:txBody>
        </p:sp>
        <p:sp>
          <p:nvSpPr>
            <p:cNvPr id="162" name="Text Box 6">
              <a:extLst>
                <a:ext uri="{FF2B5EF4-FFF2-40B4-BE49-F238E27FC236}">
                  <a16:creationId xmlns:a16="http://schemas.microsoft.com/office/drawing/2014/main" xmlns="" id="{8CB45E56-9959-4140-9008-B3E78CC175E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650178" y="5786463"/>
              <a:ext cx="3965418" cy="1528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t" anchorCtr="0">
              <a:spAutoFit/>
            </a:bodyPr>
            <a:lstStyle>
              <a:lvl1pPr>
                <a:spcBef>
                  <a:spcPct val="50000"/>
                </a:spcBef>
                <a:buClr>
                  <a:schemeClr val="tx2"/>
                </a:buClr>
                <a:buSzPct val="70000"/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50000"/>
                </a:spcBef>
                <a:buClr>
                  <a:schemeClr val="tx2"/>
                </a:buClr>
                <a:buSzPct val="70000"/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50000"/>
                </a:spcBef>
                <a:buClr>
                  <a:schemeClr val="tx2"/>
                </a:buClr>
                <a:buSzPct val="70000"/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50000"/>
                </a:spcBef>
                <a:buClr>
                  <a:schemeClr val="tx2"/>
                </a:buClr>
                <a:buSzPct val="70000"/>
                <a:buFont typeface="Wingdings" panose="05000000000000000000" pitchFamily="2" charset="2"/>
                <a:buChar char="§"/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50000"/>
                </a:spcBef>
                <a:buClr>
                  <a:schemeClr val="tx2"/>
                </a:buClr>
                <a:buSzPct val="70000"/>
                <a:buFont typeface="Wingdings" panose="05000000000000000000" pitchFamily="2" charset="2"/>
                <a:buChar char="§"/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0000"/>
                <a:buFont typeface="Wingdings" panose="05000000000000000000" pitchFamily="2" charset="2"/>
                <a:buChar char="§"/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0000"/>
                <a:buFont typeface="Wingdings" panose="05000000000000000000" pitchFamily="2" charset="2"/>
                <a:buChar char="§"/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0000"/>
                <a:buFont typeface="Wingdings" panose="05000000000000000000" pitchFamily="2" charset="2"/>
                <a:buChar char="§"/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0000"/>
                <a:buFont typeface="Wingdings" panose="05000000000000000000" pitchFamily="2" charset="2"/>
                <a:buChar char="§"/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>
                <a:buClrTx/>
                <a:buSzTx/>
                <a:buFontTx/>
                <a:buNone/>
              </a:pPr>
              <a:r>
                <a:rPr lang="sv-SE" altLang="en-US" sz="1200" b="1" dirty="0">
                  <a:solidFill>
                    <a:srgbClr val="000000"/>
                  </a:solidFill>
                  <a:latin typeface="+mn-lt"/>
                  <a:ea typeface="ABBvoice" panose="020D0603020503020204" pitchFamily="34" charset="0"/>
                  <a:cs typeface="ABBvoice" panose="020D0603020503020204" pitchFamily="34" charset="0"/>
                </a:rPr>
                <a:t>Spatial Price </a:t>
              </a:r>
              <a:r>
                <a:rPr lang="sv-SE" altLang="en-US" sz="1200" b="1" dirty="0" err="1">
                  <a:solidFill>
                    <a:srgbClr val="000000"/>
                  </a:solidFill>
                  <a:latin typeface="+mn-lt"/>
                  <a:ea typeface="ABBvoice" panose="020D0603020503020204" pitchFamily="34" charset="0"/>
                  <a:cs typeface="ABBvoice" panose="020D0603020503020204" pitchFamily="34" charset="0"/>
                </a:rPr>
                <a:t>Difference</a:t>
              </a:r>
              <a:r>
                <a:rPr lang="sv-SE" altLang="en-US" sz="1200" b="1" dirty="0">
                  <a:solidFill>
                    <a:srgbClr val="000000"/>
                  </a:solidFill>
                  <a:latin typeface="+mn-lt"/>
                  <a:ea typeface="ABBvoice" panose="020D0603020503020204" pitchFamily="34" charset="0"/>
                  <a:cs typeface="ABBvoice" panose="020D0603020503020204" pitchFamily="34" charset="0"/>
                </a:rPr>
                <a:t> </a:t>
              </a:r>
              <a:r>
                <a:rPr lang="sv-SE" altLang="en-US" sz="1200" dirty="0" err="1">
                  <a:solidFill>
                    <a:srgbClr val="000000"/>
                  </a:solidFill>
                  <a:latin typeface="+mn-lt"/>
                  <a:ea typeface="ABBvoice" panose="020D0603020503020204" pitchFamily="34" charset="0"/>
                  <a:cs typeface="ABBvoice" panose="020D0603020503020204" pitchFamily="34" charset="0"/>
                </a:rPr>
                <a:t>between</a:t>
              </a:r>
              <a:r>
                <a:rPr lang="sv-SE" altLang="en-US" sz="1200" dirty="0">
                  <a:solidFill>
                    <a:srgbClr val="000000"/>
                  </a:solidFill>
                  <a:latin typeface="+mn-lt"/>
                  <a:ea typeface="ABBvoice" panose="020D0603020503020204" pitchFamily="34" charset="0"/>
                  <a:cs typeface="ABBvoice" panose="020D0603020503020204" pitchFamily="34" charset="0"/>
                </a:rPr>
                <a:t> </a:t>
              </a:r>
              <a:r>
                <a:rPr lang="sv-SE" altLang="en-US" sz="1200" dirty="0" err="1">
                  <a:solidFill>
                    <a:srgbClr val="000000"/>
                  </a:solidFill>
                  <a:latin typeface="+mn-lt"/>
                  <a:ea typeface="ABBvoice" panose="020D0603020503020204" pitchFamily="34" charset="0"/>
                  <a:cs typeface="ABBvoice" panose="020D0603020503020204" pitchFamily="34" charset="0"/>
                </a:rPr>
                <a:t>supply</a:t>
              </a:r>
              <a:r>
                <a:rPr lang="sv-SE" altLang="en-US" sz="1200" dirty="0">
                  <a:solidFill>
                    <a:srgbClr val="000000"/>
                  </a:solidFill>
                  <a:latin typeface="+mn-lt"/>
                  <a:ea typeface="ABBvoice" panose="020D0603020503020204" pitchFamily="34" charset="0"/>
                  <a:cs typeface="ABBvoice" panose="020D0603020503020204" pitchFamily="34" charset="0"/>
                </a:rPr>
                <a:t> and </a:t>
              </a:r>
              <a:r>
                <a:rPr lang="sv-SE" altLang="en-US" sz="1200" dirty="0" err="1">
                  <a:solidFill>
                    <a:srgbClr val="000000"/>
                  </a:solidFill>
                  <a:latin typeface="+mn-lt"/>
                  <a:ea typeface="ABBvoice" panose="020D0603020503020204" pitchFamily="34" charset="0"/>
                  <a:cs typeface="ABBvoice" panose="020D0603020503020204" pitchFamily="34" charset="0"/>
                </a:rPr>
                <a:t>demand</a:t>
              </a:r>
              <a:endParaRPr lang="en-US" altLang="en-US" sz="1200" dirty="0">
                <a:solidFill>
                  <a:srgbClr val="000000"/>
                </a:solidFill>
                <a:latin typeface="+mn-lt"/>
                <a:ea typeface="ABBvoice" panose="020D0603020503020204" pitchFamily="34" charset="0"/>
                <a:cs typeface="ABBvoice" panose="020D0603020503020204" pitchFamily="34" charset="0"/>
              </a:endParaRPr>
            </a:p>
          </p:txBody>
        </p:sp>
        <p:sp>
          <p:nvSpPr>
            <p:cNvPr id="163" name="Text Box 6">
              <a:extLst>
                <a:ext uri="{FF2B5EF4-FFF2-40B4-BE49-F238E27FC236}">
                  <a16:creationId xmlns:a16="http://schemas.microsoft.com/office/drawing/2014/main" xmlns="" id="{2F280457-903A-394F-9C7E-C88873D3267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437012" y="2483867"/>
              <a:ext cx="2461914" cy="1528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spcBef>
                  <a:spcPct val="50000"/>
                </a:spcBef>
                <a:buClr>
                  <a:schemeClr val="tx2"/>
                </a:buClr>
                <a:buSzPct val="70000"/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50000"/>
                </a:spcBef>
                <a:buClr>
                  <a:schemeClr val="tx2"/>
                </a:buClr>
                <a:buSzPct val="70000"/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50000"/>
                </a:spcBef>
                <a:buClr>
                  <a:schemeClr val="tx2"/>
                </a:buClr>
                <a:buSzPct val="70000"/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50000"/>
                </a:spcBef>
                <a:buClr>
                  <a:schemeClr val="tx2"/>
                </a:buClr>
                <a:buSzPct val="70000"/>
                <a:buFont typeface="Wingdings" panose="05000000000000000000" pitchFamily="2" charset="2"/>
                <a:buChar char="§"/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50000"/>
                </a:spcBef>
                <a:buClr>
                  <a:schemeClr val="tx2"/>
                </a:buClr>
                <a:buSzPct val="70000"/>
                <a:buFont typeface="Wingdings" panose="05000000000000000000" pitchFamily="2" charset="2"/>
                <a:buChar char="§"/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0000"/>
                <a:buFont typeface="Wingdings" panose="05000000000000000000" pitchFamily="2" charset="2"/>
                <a:buChar char="§"/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0000"/>
                <a:buFont typeface="Wingdings" panose="05000000000000000000" pitchFamily="2" charset="2"/>
                <a:buChar char="§"/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0000"/>
                <a:buFont typeface="Wingdings" panose="05000000000000000000" pitchFamily="2" charset="2"/>
                <a:buChar char="§"/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0000"/>
                <a:buFont typeface="Wingdings" panose="05000000000000000000" pitchFamily="2" charset="2"/>
                <a:buChar char="§"/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Tx/>
                <a:buSzTx/>
                <a:buFontTx/>
                <a:buNone/>
              </a:pPr>
              <a:r>
                <a:rPr lang="sv-SE" altLang="en-US" sz="1200" b="1" dirty="0">
                  <a:solidFill>
                    <a:srgbClr val="000000"/>
                  </a:solidFill>
                  <a:latin typeface="+mn-lt"/>
                  <a:ea typeface="ABBvoice" panose="020D0603020503020204" pitchFamily="34" charset="0"/>
                  <a:cs typeface="ABBvoice" panose="020D0603020503020204" pitchFamily="34" charset="0"/>
                </a:rPr>
                <a:t>Ideal mix </a:t>
              </a:r>
              <a:r>
                <a:rPr lang="sv-SE" altLang="en-US" sz="1200" b="1" dirty="0" err="1">
                  <a:solidFill>
                    <a:srgbClr val="000000"/>
                  </a:solidFill>
                  <a:latin typeface="+mn-lt"/>
                  <a:ea typeface="ABBvoice" panose="020D0603020503020204" pitchFamily="34" charset="0"/>
                  <a:cs typeface="ABBvoice" panose="020D0603020503020204" pitchFamily="34" charset="0"/>
                </a:rPr>
                <a:t>fraction</a:t>
              </a:r>
              <a:endParaRPr lang="sv-SE" altLang="en-US" sz="1200" b="1" dirty="0">
                <a:solidFill>
                  <a:srgbClr val="000000"/>
                </a:solidFill>
                <a:latin typeface="+mn-lt"/>
                <a:ea typeface="ABBvoice" panose="020D0603020503020204" pitchFamily="34" charset="0"/>
                <a:cs typeface="ABBvoice" panose="020D0603020503020204" pitchFamily="34" charset="0"/>
              </a:endParaRPr>
            </a:p>
          </p:txBody>
        </p:sp>
      </p:grpSp>
      <p:pic>
        <p:nvPicPr>
          <p:cNvPr id="10" name="Picture 189">
            <a:extLst>
              <a:ext uri="{FF2B5EF4-FFF2-40B4-BE49-F238E27FC236}">
                <a16:creationId xmlns:a16="http://schemas.microsoft.com/office/drawing/2014/main" xmlns="" id="{D4E68EF2-ECB5-4B57-AF1F-ACD4E2D74A5C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39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0"/>
              </a:ext>
            </a:extLst>
          </a:blip>
          <a:srcRect/>
          <a:stretch>
            <a:fillRect/>
          </a:stretch>
        </p:blipFill>
        <p:spPr>
          <a:xfrm>
            <a:off x="1173328" y="2676822"/>
            <a:ext cx="529380" cy="529380"/>
          </a:xfrm>
          <a:prstGeom prst="rect">
            <a:avLst/>
          </a:prstGeom>
        </p:spPr>
      </p:pic>
      <p:pic>
        <p:nvPicPr>
          <p:cNvPr id="14" name="Picture 94">
            <a:extLst>
              <a:ext uri="{FF2B5EF4-FFF2-40B4-BE49-F238E27FC236}">
                <a16:creationId xmlns:a16="http://schemas.microsoft.com/office/drawing/2014/main" xmlns="" id="{B9CBFFAB-1D59-4C0F-8623-E26436D7F6A2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39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0"/>
              </a:ext>
            </a:extLst>
          </a:blip>
          <a:srcRect/>
          <a:stretch>
            <a:fillRect/>
          </a:stretch>
        </p:blipFill>
        <p:spPr>
          <a:xfrm>
            <a:off x="1141279" y="5119703"/>
            <a:ext cx="529380" cy="529380"/>
          </a:xfrm>
          <a:prstGeom prst="rect">
            <a:avLst/>
          </a:prstGeom>
        </p:spPr>
      </p:pic>
      <p:pic>
        <p:nvPicPr>
          <p:cNvPr id="97" name="Graphic 96">
            <a:extLst>
              <a:ext uri="{FF2B5EF4-FFF2-40B4-BE49-F238E27FC236}">
                <a16:creationId xmlns:a16="http://schemas.microsoft.com/office/drawing/2014/main" xmlns="" id="{4E9D73A5-C1A8-4BD8-820F-5387D5D59BE7}"/>
              </a:ext>
            </a:extLst>
          </p:cNvPr>
          <p:cNvPicPr>
            <a:picLocks noChangeAspect="1"/>
          </p:cNvPicPr>
          <p:nvPr>
            <p:custDataLst>
              <p:tags r:id="rId13"/>
            </p:custDataLst>
          </p:nvPr>
        </p:nvPicPr>
        <p:blipFill>
          <a:blip r:embed="rId2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25"/>
              </a:ext>
            </a:extLst>
          </a:blip>
          <a:srcRect/>
          <a:stretch>
            <a:fillRect/>
          </a:stretch>
        </p:blipFill>
        <p:spPr>
          <a:xfrm>
            <a:off x="350007" y="5657689"/>
            <a:ext cx="466725" cy="466725"/>
          </a:xfrm>
          <a:prstGeom prst="rect">
            <a:avLst/>
          </a:prstGeom>
        </p:spPr>
      </p:pic>
      <p:pic>
        <p:nvPicPr>
          <p:cNvPr id="98" name="Graphic 97">
            <a:extLst>
              <a:ext uri="{FF2B5EF4-FFF2-40B4-BE49-F238E27FC236}">
                <a16:creationId xmlns:a16="http://schemas.microsoft.com/office/drawing/2014/main" xmlns="" id="{BF95FBB1-E77A-41B8-9818-91A9E2FE380B}"/>
              </a:ext>
            </a:extLst>
          </p:cNvPr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2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27"/>
              </a:ext>
            </a:extLst>
          </a:blip>
          <a:srcRect/>
          <a:stretch>
            <a:fillRect/>
          </a:stretch>
        </p:blipFill>
        <p:spPr>
          <a:xfrm>
            <a:off x="288094" y="5056756"/>
            <a:ext cx="466725" cy="466725"/>
          </a:xfrm>
          <a:prstGeom prst="rect">
            <a:avLst/>
          </a:prstGeom>
        </p:spPr>
      </p:pic>
      <p:pic>
        <p:nvPicPr>
          <p:cNvPr id="99" name="Graphic 98">
            <a:extLst>
              <a:ext uri="{FF2B5EF4-FFF2-40B4-BE49-F238E27FC236}">
                <a16:creationId xmlns:a16="http://schemas.microsoft.com/office/drawing/2014/main" xmlns="" id="{BF00D4BE-4AC1-4E07-A2B1-781CAD6AA2BF}"/>
              </a:ext>
            </a:extLst>
          </p:cNvPr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28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29"/>
              </a:ext>
            </a:extLst>
          </a:blip>
          <a:srcRect/>
          <a:stretch>
            <a:fillRect/>
          </a:stretch>
        </p:blipFill>
        <p:spPr>
          <a:xfrm>
            <a:off x="2089851" y="4434424"/>
            <a:ext cx="466725" cy="466725"/>
          </a:xfrm>
          <a:prstGeom prst="rect">
            <a:avLst/>
          </a:prstGeom>
        </p:spPr>
      </p:pic>
      <p:pic>
        <p:nvPicPr>
          <p:cNvPr id="100" name="Graphic 99">
            <a:extLst>
              <a:ext uri="{FF2B5EF4-FFF2-40B4-BE49-F238E27FC236}">
                <a16:creationId xmlns:a16="http://schemas.microsoft.com/office/drawing/2014/main" xmlns="" id="{22631080-0527-4C47-A177-AFA045214F20}"/>
              </a:ext>
            </a:extLst>
          </p:cNvPr>
          <p:cNvPicPr>
            <a:picLocks noChangeAspect="1"/>
          </p:cNvPicPr>
          <p:nvPr>
            <p:custDataLst>
              <p:tags r:id="rId16"/>
            </p:custDataLst>
          </p:nvPr>
        </p:nvPicPr>
        <p:blipFill>
          <a:blip r:embed="rId30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1"/>
              </a:ext>
            </a:extLst>
          </a:blip>
          <a:srcRect/>
          <a:stretch>
            <a:fillRect/>
          </a:stretch>
        </p:blipFill>
        <p:spPr>
          <a:xfrm>
            <a:off x="305467" y="4434426"/>
            <a:ext cx="466725" cy="466725"/>
          </a:xfrm>
          <a:prstGeom prst="rect">
            <a:avLst/>
          </a:prstGeom>
        </p:spPr>
      </p:pic>
      <p:pic>
        <p:nvPicPr>
          <p:cNvPr id="40" name="Bild 31">
            <a:extLst>
              <a:ext uri="{FF2B5EF4-FFF2-40B4-BE49-F238E27FC236}">
                <a16:creationId xmlns:a16="http://schemas.microsoft.com/office/drawing/2014/main" xmlns="" id="{9E530CA6-EFD4-4250-9B0B-87E1DB74E1E5}"/>
              </a:ext>
            </a:extLst>
          </p:cNvPr>
          <p:cNvPicPr>
            <a:picLocks noChangeAspect="1"/>
          </p:cNvPicPr>
          <p:nvPr/>
        </p:nvPicPr>
        <p:blipFill>
          <a:blip r:embed="rId3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5"/>
              </a:ext>
            </a:extLst>
          </a:blip>
          <a:stretch>
            <a:fillRect/>
          </a:stretch>
        </p:blipFill>
        <p:spPr>
          <a:xfrm>
            <a:off x="3203483" y="4459928"/>
            <a:ext cx="228600" cy="228600"/>
          </a:xfrm>
          <a:prstGeom prst="rect">
            <a:avLst/>
          </a:prstGeom>
        </p:spPr>
      </p:pic>
      <p:pic>
        <p:nvPicPr>
          <p:cNvPr id="41" name="Bild 31">
            <a:extLst>
              <a:ext uri="{FF2B5EF4-FFF2-40B4-BE49-F238E27FC236}">
                <a16:creationId xmlns:a16="http://schemas.microsoft.com/office/drawing/2014/main" xmlns="" id="{3E8567AE-A01E-45EC-96D3-7E28FCC471FC}"/>
              </a:ext>
            </a:extLst>
          </p:cNvPr>
          <p:cNvPicPr>
            <a:picLocks noChangeAspect="1"/>
          </p:cNvPicPr>
          <p:nvPr/>
        </p:nvPicPr>
        <p:blipFill>
          <a:blip r:embed="rId3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5"/>
              </a:ext>
            </a:extLst>
          </a:blip>
          <a:stretch>
            <a:fillRect/>
          </a:stretch>
        </p:blipFill>
        <p:spPr>
          <a:xfrm>
            <a:off x="4878467" y="4470287"/>
            <a:ext cx="228600" cy="228600"/>
          </a:xfrm>
          <a:prstGeom prst="rect">
            <a:avLst/>
          </a:prstGeom>
        </p:spPr>
      </p:pic>
      <p:sp>
        <p:nvSpPr>
          <p:cNvPr id="29" name="Slide Number Placeholder 28">
            <a:extLst>
              <a:ext uri="{FF2B5EF4-FFF2-40B4-BE49-F238E27FC236}">
                <a16:creationId xmlns:a16="http://schemas.microsoft.com/office/drawing/2014/main" xmlns="" id="{DFFF10C9-DA9A-40A0-B8EC-33BE1C6C4E11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C24EC536-6FE3-4540-8D85-74C58F0BF697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65208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9884D6D8-D539-471C-BBD0-62A3B9F2DD1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r>
              <a:rPr lang="en-US" altLang="en-US" sz="1600" dirty="0"/>
              <a:t>Offshore wind: average distance from shore by country</a:t>
            </a:r>
          </a:p>
        </p:txBody>
      </p:sp>
      <p:sp>
        <p:nvSpPr>
          <p:cNvPr id="80" name="Content Placeholder 8"/>
          <p:cNvSpPr>
            <a:spLocks noGrp="1"/>
          </p:cNvSpPr>
          <p:nvPr>
            <p:ph sz="quarter" idx="19"/>
          </p:nvPr>
        </p:nvSpPr>
        <p:spPr>
          <a:xfrm>
            <a:off x="263524" y="2097088"/>
            <a:ext cx="3671175" cy="4248150"/>
          </a:xfrm>
        </p:spPr>
        <p:txBody>
          <a:bodyPr/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dirty="0"/>
              <a:t>Increasing project sizes at sites farther out at sea and away from the grid connection point have a significant impact of the offshore transmission design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ffshore wind connections</a:t>
            </a:r>
            <a:endParaRPr lang="en-US" b="0" dirty="0"/>
          </a:p>
        </p:txBody>
      </p:sp>
      <p:cxnSp>
        <p:nvCxnSpPr>
          <p:cNvPr id="147" name="Straight Arrow Connector 146"/>
          <p:cNvCxnSpPr/>
          <p:nvPr/>
        </p:nvCxnSpPr>
        <p:spPr>
          <a:xfrm flipV="1">
            <a:off x="5712243" y="1636581"/>
            <a:ext cx="0" cy="3293158"/>
          </a:xfrm>
          <a:prstGeom prst="straightConnector1">
            <a:avLst/>
          </a:prstGeom>
          <a:ln w="285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Straight Arrow Connector 147"/>
          <p:cNvCxnSpPr/>
          <p:nvPr/>
        </p:nvCxnSpPr>
        <p:spPr>
          <a:xfrm>
            <a:off x="5718175" y="4920343"/>
            <a:ext cx="6172037" cy="23580"/>
          </a:xfrm>
          <a:prstGeom prst="straightConnector1">
            <a:avLst/>
          </a:prstGeom>
          <a:ln w="285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9" name="Freeform 148"/>
          <p:cNvSpPr/>
          <p:nvPr/>
        </p:nvSpPr>
        <p:spPr>
          <a:xfrm>
            <a:off x="6286500" y="1714500"/>
            <a:ext cx="4953000" cy="3250389"/>
          </a:xfrm>
          <a:custGeom>
            <a:avLst/>
            <a:gdLst>
              <a:gd name="connsiteX0" fmla="*/ 0 w 4953000"/>
              <a:gd name="connsiteY0" fmla="*/ 3228975 h 3250389"/>
              <a:gd name="connsiteX1" fmla="*/ 2400300 w 4953000"/>
              <a:gd name="connsiteY1" fmla="*/ 2771775 h 3250389"/>
              <a:gd name="connsiteX2" fmla="*/ 4953000 w 4953000"/>
              <a:gd name="connsiteY2" fmla="*/ 0 h 32503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953000" h="3250389">
                <a:moveTo>
                  <a:pt x="0" y="3228975"/>
                </a:moveTo>
                <a:cubicBezTo>
                  <a:pt x="787400" y="3269456"/>
                  <a:pt x="1574800" y="3309938"/>
                  <a:pt x="2400300" y="2771775"/>
                </a:cubicBezTo>
                <a:cubicBezTo>
                  <a:pt x="3225800" y="2233612"/>
                  <a:pt x="4089400" y="1116806"/>
                  <a:pt x="4953000" y="0"/>
                </a:cubicBezTo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0" name="Freeform 149"/>
          <p:cNvSpPr/>
          <p:nvPr/>
        </p:nvSpPr>
        <p:spPr>
          <a:xfrm>
            <a:off x="6276975" y="1714500"/>
            <a:ext cx="4972050" cy="3228975"/>
          </a:xfrm>
          <a:custGeom>
            <a:avLst/>
            <a:gdLst>
              <a:gd name="connsiteX0" fmla="*/ 0 w 4972050"/>
              <a:gd name="connsiteY0" fmla="*/ 3228975 h 3228975"/>
              <a:gd name="connsiteX1" fmla="*/ 1076325 w 4972050"/>
              <a:gd name="connsiteY1" fmla="*/ 2886075 h 3228975"/>
              <a:gd name="connsiteX2" fmla="*/ 3324225 w 4972050"/>
              <a:gd name="connsiteY2" fmla="*/ 2466975 h 3228975"/>
              <a:gd name="connsiteX3" fmla="*/ 4972050 w 4972050"/>
              <a:gd name="connsiteY3" fmla="*/ 0 h 3228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972050" h="3228975">
                <a:moveTo>
                  <a:pt x="0" y="3228975"/>
                </a:moveTo>
                <a:lnTo>
                  <a:pt x="1076325" y="2886075"/>
                </a:lnTo>
                <a:lnTo>
                  <a:pt x="3324225" y="2466975"/>
                </a:lnTo>
                <a:lnTo>
                  <a:pt x="4972050" y="0"/>
                </a:lnTo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2" name="TextBox 191"/>
          <p:cNvSpPr txBox="1"/>
          <p:nvPr/>
        </p:nvSpPr>
        <p:spPr>
          <a:xfrm>
            <a:off x="5876583" y="5081532"/>
            <a:ext cx="911116" cy="46668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US" sz="1400" dirty="0"/>
              <a:t>United</a:t>
            </a:r>
            <a:br>
              <a:rPr lang="en-US" sz="1400" dirty="0"/>
            </a:br>
            <a:r>
              <a:rPr lang="en-US" sz="1400" dirty="0"/>
              <a:t>Kingdom</a:t>
            </a:r>
            <a:endParaRPr lang="en-US" sz="1400" baseline="-25000" dirty="0"/>
          </a:p>
        </p:txBody>
      </p:sp>
      <p:cxnSp>
        <p:nvCxnSpPr>
          <p:cNvPr id="196" name="Straight Connector 116">
            <a:extLst>
              <a:ext uri="{FF2B5EF4-FFF2-40B4-BE49-F238E27FC236}">
                <a16:creationId xmlns:a16="http://schemas.microsoft.com/office/drawing/2014/main" xmlns="" id="{E25A4110-FDC6-8848-A56F-0D874AAE3CCB}"/>
              </a:ext>
            </a:extLst>
          </p:cNvPr>
          <p:cNvCxnSpPr/>
          <p:nvPr/>
        </p:nvCxnSpPr>
        <p:spPr>
          <a:xfrm>
            <a:off x="6550142" y="5727700"/>
            <a:ext cx="0" cy="446906"/>
          </a:xfrm>
          <a:prstGeom prst="line">
            <a:avLst/>
          </a:prstGeom>
          <a:noFill/>
          <a:ln w="38100" cap="flat" cmpd="sng" algn="ctr">
            <a:solidFill>
              <a:schemeClr val="accent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197" name="Straight Connector 116">
            <a:extLst>
              <a:ext uri="{FF2B5EF4-FFF2-40B4-BE49-F238E27FC236}">
                <a16:creationId xmlns:a16="http://schemas.microsoft.com/office/drawing/2014/main" xmlns="" id="{E25A4110-FDC6-8848-A56F-0D874AAE3CCB}"/>
              </a:ext>
            </a:extLst>
          </p:cNvPr>
          <p:cNvCxnSpPr/>
          <p:nvPr/>
        </p:nvCxnSpPr>
        <p:spPr>
          <a:xfrm>
            <a:off x="8072160" y="5727700"/>
            <a:ext cx="0" cy="446906"/>
          </a:xfrm>
          <a:prstGeom prst="line">
            <a:avLst/>
          </a:prstGeom>
          <a:noFill/>
          <a:ln w="38100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204" name="TextBox 203"/>
          <p:cNvSpPr txBox="1"/>
          <p:nvPr/>
        </p:nvSpPr>
        <p:spPr>
          <a:xfrm>
            <a:off x="8202495" y="5884579"/>
            <a:ext cx="2499359" cy="19830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US" sz="1200" b="1" dirty="0"/>
              <a:t>Under construction and pipeline</a:t>
            </a:r>
            <a:endParaRPr lang="en-US" sz="1200" b="1" baseline="-25000" dirty="0"/>
          </a:p>
        </p:txBody>
      </p:sp>
      <p:sp>
        <p:nvSpPr>
          <p:cNvPr id="205" name="TextBox 204"/>
          <p:cNvSpPr txBox="1"/>
          <p:nvPr/>
        </p:nvSpPr>
        <p:spPr>
          <a:xfrm>
            <a:off x="6623359" y="5884579"/>
            <a:ext cx="1258064" cy="19830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US" sz="1200" b="1" dirty="0"/>
              <a:t>Commissioned</a:t>
            </a:r>
            <a:endParaRPr lang="en-US" sz="1200" b="1" baseline="-25000" dirty="0"/>
          </a:p>
        </p:txBody>
      </p:sp>
      <p:cxnSp>
        <p:nvCxnSpPr>
          <p:cNvPr id="206" name="Straight Connector 116">
            <a:extLst>
              <a:ext uri="{FF2B5EF4-FFF2-40B4-BE49-F238E27FC236}">
                <a16:creationId xmlns:a16="http://schemas.microsoft.com/office/drawing/2014/main" xmlns="" id="{E25A4110-FDC6-8848-A56F-0D874AAE3CCB}"/>
              </a:ext>
            </a:extLst>
          </p:cNvPr>
          <p:cNvCxnSpPr/>
          <p:nvPr/>
        </p:nvCxnSpPr>
        <p:spPr>
          <a:xfrm>
            <a:off x="6182590" y="4445000"/>
            <a:ext cx="0" cy="484739"/>
          </a:xfrm>
          <a:prstGeom prst="line">
            <a:avLst/>
          </a:prstGeom>
          <a:noFill/>
          <a:ln w="28575" cap="flat" cmpd="sng" algn="ctr">
            <a:solidFill>
              <a:schemeClr val="accent6"/>
            </a:solidFill>
            <a:prstDash val="solid"/>
            <a:miter lim="800000"/>
            <a:headEnd type="oval" w="med" len="med"/>
            <a:tailEnd type="oval" w="med" len="med"/>
          </a:ln>
          <a:effectLst/>
        </p:spPr>
      </p:cxnSp>
      <p:cxnSp>
        <p:nvCxnSpPr>
          <p:cNvPr id="207" name="Straight Connector 116">
            <a:extLst>
              <a:ext uri="{FF2B5EF4-FFF2-40B4-BE49-F238E27FC236}">
                <a16:creationId xmlns:a16="http://schemas.microsoft.com/office/drawing/2014/main" xmlns="" id="{E25A4110-FDC6-8848-A56F-0D874AAE3CCB}"/>
              </a:ext>
            </a:extLst>
          </p:cNvPr>
          <p:cNvCxnSpPr/>
          <p:nvPr/>
        </p:nvCxnSpPr>
        <p:spPr>
          <a:xfrm>
            <a:off x="6448542" y="2004153"/>
            <a:ext cx="0" cy="2925586"/>
          </a:xfrm>
          <a:prstGeom prst="line">
            <a:avLst/>
          </a:prstGeom>
          <a:noFill/>
          <a:ln w="28575" cap="flat" cmpd="sng" algn="ctr">
            <a:solidFill>
              <a:schemeClr val="tx2"/>
            </a:solidFill>
            <a:prstDash val="solid"/>
            <a:miter lim="800000"/>
            <a:headEnd type="oval" w="med" len="med"/>
            <a:tailEnd type="oval" w="med" len="med"/>
          </a:ln>
          <a:effectLst/>
        </p:spPr>
      </p:cxnSp>
      <p:sp>
        <p:nvSpPr>
          <p:cNvPr id="31" name="TextBox 30"/>
          <p:cNvSpPr txBox="1"/>
          <p:nvPr/>
        </p:nvSpPr>
        <p:spPr>
          <a:xfrm>
            <a:off x="5268321" y="1905000"/>
            <a:ext cx="367552" cy="19830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US" sz="1400" dirty="0"/>
              <a:t>80</a:t>
            </a:r>
            <a:endParaRPr lang="en-US" sz="1400" baseline="-25000" dirty="0"/>
          </a:p>
        </p:txBody>
      </p:sp>
      <p:sp>
        <p:nvSpPr>
          <p:cNvPr id="32" name="TextBox 31"/>
          <p:cNvSpPr txBox="1"/>
          <p:nvPr/>
        </p:nvSpPr>
        <p:spPr>
          <a:xfrm>
            <a:off x="5268321" y="2581533"/>
            <a:ext cx="367552" cy="19830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US" sz="1400" dirty="0"/>
              <a:t>60</a:t>
            </a:r>
            <a:endParaRPr lang="en-US" sz="1400" baseline="-25000" dirty="0"/>
          </a:p>
        </p:txBody>
      </p:sp>
      <p:sp>
        <p:nvSpPr>
          <p:cNvPr id="33" name="TextBox 32"/>
          <p:cNvSpPr txBox="1"/>
          <p:nvPr/>
        </p:nvSpPr>
        <p:spPr>
          <a:xfrm>
            <a:off x="5268321" y="3258066"/>
            <a:ext cx="367552" cy="19830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US" sz="1400" dirty="0"/>
              <a:t>40</a:t>
            </a:r>
            <a:endParaRPr lang="en-US" sz="1400" baseline="-25000" dirty="0"/>
          </a:p>
        </p:txBody>
      </p:sp>
      <p:sp>
        <p:nvSpPr>
          <p:cNvPr id="34" name="TextBox 33"/>
          <p:cNvSpPr txBox="1"/>
          <p:nvPr/>
        </p:nvSpPr>
        <p:spPr>
          <a:xfrm>
            <a:off x="5268321" y="3934598"/>
            <a:ext cx="367552" cy="19830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US" sz="1400" dirty="0"/>
              <a:t>20</a:t>
            </a:r>
            <a:endParaRPr lang="en-US" sz="1400" baseline="-25000" dirty="0"/>
          </a:p>
        </p:txBody>
      </p:sp>
      <p:sp>
        <p:nvSpPr>
          <p:cNvPr id="36" name="TextBox 35"/>
          <p:cNvSpPr txBox="1"/>
          <p:nvPr/>
        </p:nvSpPr>
        <p:spPr>
          <a:xfrm>
            <a:off x="6977964" y="5081532"/>
            <a:ext cx="754324" cy="19830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US" sz="1400" dirty="0"/>
              <a:t>Germany</a:t>
            </a:r>
            <a:endParaRPr lang="en-US" sz="1400" baseline="-25000" dirty="0"/>
          </a:p>
        </p:txBody>
      </p:sp>
      <p:sp>
        <p:nvSpPr>
          <p:cNvPr id="37" name="TextBox 36"/>
          <p:cNvSpPr txBox="1"/>
          <p:nvPr/>
        </p:nvSpPr>
        <p:spPr>
          <a:xfrm>
            <a:off x="7922553" y="5081532"/>
            <a:ext cx="958215" cy="19830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US" sz="1400" dirty="0"/>
              <a:t>Netherlands</a:t>
            </a:r>
            <a:endParaRPr lang="en-US" sz="1400" baseline="-25000" dirty="0"/>
          </a:p>
        </p:txBody>
      </p:sp>
      <p:sp>
        <p:nvSpPr>
          <p:cNvPr id="38" name="TextBox 37"/>
          <p:cNvSpPr txBox="1"/>
          <p:nvPr/>
        </p:nvSpPr>
        <p:spPr>
          <a:xfrm>
            <a:off x="9071033" y="5081532"/>
            <a:ext cx="743006" cy="19830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US" sz="1400" dirty="0"/>
              <a:t>Denmark</a:t>
            </a:r>
            <a:endParaRPr lang="en-US" sz="1400" baseline="-25000" dirty="0"/>
          </a:p>
        </p:txBody>
      </p:sp>
      <p:sp>
        <p:nvSpPr>
          <p:cNvPr id="40" name="TextBox 39"/>
          <p:cNvSpPr txBox="1"/>
          <p:nvPr/>
        </p:nvSpPr>
        <p:spPr>
          <a:xfrm>
            <a:off x="10004304" y="5081532"/>
            <a:ext cx="743006" cy="19830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US" sz="1400" dirty="0"/>
              <a:t>United</a:t>
            </a:r>
            <a:br>
              <a:rPr lang="en-US" sz="1400" dirty="0"/>
            </a:br>
            <a:r>
              <a:rPr lang="en-US" sz="1400" dirty="0"/>
              <a:t>States</a:t>
            </a:r>
            <a:endParaRPr lang="en-US" sz="1400" baseline="-25000" dirty="0"/>
          </a:p>
        </p:txBody>
      </p:sp>
      <p:sp>
        <p:nvSpPr>
          <p:cNvPr id="41" name="TextBox 40"/>
          <p:cNvSpPr txBox="1"/>
          <p:nvPr/>
        </p:nvSpPr>
        <p:spPr>
          <a:xfrm>
            <a:off x="10937577" y="5081532"/>
            <a:ext cx="743006" cy="42417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US" sz="1400" dirty="0"/>
              <a:t>China</a:t>
            </a:r>
            <a:endParaRPr lang="en-US" sz="1400" baseline="-25000" dirty="0"/>
          </a:p>
        </p:txBody>
      </p:sp>
      <p:cxnSp>
        <p:nvCxnSpPr>
          <p:cNvPr id="43" name="Straight Connector 116">
            <a:extLst>
              <a:ext uri="{FF2B5EF4-FFF2-40B4-BE49-F238E27FC236}">
                <a16:creationId xmlns:a16="http://schemas.microsoft.com/office/drawing/2014/main" xmlns="" id="{E25A4110-FDC6-8848-A56F-0D874AAE3CCB}"/>
              </a:ext>
            </a:extLst>
          </p:cNvPr>
          <p:cNvCxnSpPr/>
          <p:nvPr/>
        </p:nvCxnSpPr>
        <p:spPr>
          <a:xfrm>
            <a:off x="7252391" y="3124200"/>
            <a:ext cx="0" cy="1805539"/>
          </a:xfrm>
          <a:prstGeom prst="line">
            <a:avLst/>
          </a:prstGeom>
          <a:noFill/>
          <a:ln w="28575" cap="flat" cmpd="sng" algn="ctr">
            <a:solidFill>
              <a:schemeClr val="accent6"/>
            </a:solidFill>
            <a:prstDash val="solid"/>
            <a:miter lim="800000"/>
            <a:headEnd type="oval" w="med" len="med"/>
            <a:tailEnd type="oval" w="med" len="med"/>
          </a:ln>
          <a:effectLst/>
        </p:spPr>
      </p:cxnSp>
      <p:cxnSp>
        <p:nvCxnSpPr>
          <p:cNvPr id="44" name="Straight Connector 116">
            <a:extLst>
              <a:ext uri="{FF2B5EF4-FFF2-40B4-BE49-F238E27FC236}">
                <a16:creationId xmlns:a16="http://schemas.microsoft.com/office/drawing/2014/main" xmlns="" id="{E25A4110-FDC6-8848-A56F-0D874AAE3CCB}"/>
              </a:ext>
            </a:extLst>
          </p:cNvPr>
          <p:cNvCxnSpPr/>
          <p:nvPr/>
        </p:nvCxnSpPr>
        <p:spPr>
          <a:xfrm>
            <a:off x="7518343" y="2680686"/>
            <a:ext cx="0" cy="2249053"/>
          </a:xfrm>
          <a:prstGeom prst="line">
            <a:avLst/>
          </a:prstGeom>
          <a:noFill/>
          <a:ln w="28575" cap="flat" cmpd="sng" algn="ctr">
            <a:solidFill>
              <a:schemeClr val="tx2"/>
            </a:solidFill>
            <a:prstDash val="solid"/>
            <a:miter lim="800000"/>
            <a:headEnd type="oval" w="med" len="med"/>
            <a:tailEnd type="oval" w="med" len="med"/>
          </a:ln>
          <a:effectLst/>
        </p:spPr>
      </p:cxnSp>
      <p:cxnSp>
        <p:nvCxnSpPr>
          <p:cNvPr id="47" name="Straight Connector 116">
            <a:extLst>
              <a:ext uri="{FF2B5EF4-FFF2-40B4-BE49-F238E27FC236}">
                <a16:creationId xmlns:a16="http://schemas.microsoft.com/office/drawing/2014/main" xmlns="" id="{E25A4110-FDC6-8848-A56F-0D874AAE3CCB}"/>
              </a:ext>
            </a:extLst>
          </p:cNvPr>
          <p:cNvCxnSpPr/>
          <p:nvPr/>
        </p:nvCxnSpPr>
        <p:spPr>
          <a:xfrm>
            <a:off x="8338241" y="3886200"/>
            <a:ext cx="0" cy="1043539"/>
          </a:xfrm>
          <a:prstGeom prst="line">
            <a:avLst/>
          </a:prstGeom>
          <a:noFill/>
          <a:ln w="28575" cap="flat" cmpd="sng" algn="ctr">
            <a:solidFill>
              <a:schemeClr val="accent6"/>
            </a:solidFill>
            <a:prstDash val="solid"/>
            <a:miter lim="800000"/>
            <a:headEnd type="oval" w="med" len="med"/>
            <a:tailEnd type="oval" w="med" len="med"/>
          </a:ln>
          <a:effectLst/>
        </p:spPr>
      </p:cxnSp>
      <p:cxnSp>
        <p:nvCxnSpPr>
          <p:cNvPr id="48" name="Straight Connector 116">
            <a:extLst>
              <a:ext uri="{FF2B5EF4-FFF2-40B4-BE49-F238E27FC236}">
                <a16:creationId xmlns:a16="http://schemas.microsoft.com/office/drawing/2014/main" xmlns="" id="{E25A4110-FDC6-8848-A56F-0D874AAE3CCB}"/>
              </a:ext>
            </a:extLst>
          </p:cNvPr>
          <p:cNvCxnSpPr/>
          <p:nvPr/>
        </p:nvCxnSpPr>
        <p:spPr>
          <a:xfrm>
            <a:off x="8601075" y="3695700"/>
            <a:ext cx="3118" cy="1234039"/>
          </a:xfrm>
          <a:prstGeom prst="line">
            <a:avLst/>
          </a:prstGeom>
          <a:noFill/>
          <a:ln w="28575" cap="flat" cmpd="sng" algn="ctr">
            <a:solidFill>
              <a:schemeClr val="tx2"/>
            </a:solidFill>
            <a:prstDash val="solid"/>
            <a:miter lim="800000"/>
            <a:headEnd type="oval" w="med" len="med"/>
            <a:tailEnd type="oval" w="med" len="med"/>
          </a:ln>
          <a:effectLst/>
        </p:spPr>
      </p:cxnSp>
      <p:cxnSp>
        <p:nvCxnSpPr>
          <p:cNvPr id="51" name="Straight Connector 116">
            <a:extLst>
              <a:ext uri="{FF2B5EF4-FFF2-40B4-BE49-F238E27FC236}">
                <a16:creationId xmlns:a16="http://schemas.microsoft.com/office/drawing/2014/main" xmlns="" id="{E25A4110-FDC6-8848-A56F-0D874AAE3CCB}"/>
              </a:ext>
            </a:extLst>
          </p:cNvPr>
          <p:cNvCxnSpPr/>
          <p:nvPr/>
        </p:nvCxnSpPr>
        <p:spPr>
          <a:xfrm>
            <a:off x="9303640" y="4095750"/>
            <a:ext cx="0" cy="833989"/>
          </a:xfrm>
          <a:prstGeom prst="line">
            <a:avLst/>
          </a:prstGeom>
          <a:noFill/>
          <a:ln w="28575" cap="flat" cmpd="sng" algn="ctr">
            <a:solidFill>
              <a:schemeClr val="accent6"/>
            </a:solidFill>
            <a:prstDash val="solid"/>
            <a:miter lim="800000"/>
            <a:headEnd type="oval" w="med" len="med"/>
            <a:tailEnd type="oval" w="med" len="med"/>
          </a:ln>
          <a:effectLst/>
        </p:spPr>
      </p:cxnSp>
      <p:cxnSp>
        <p:nvCxnSpPr>
          <p:cNvPr id="52" name="Straight Connector 116">
            <a:extLst>
              <a:ext uri="{FF2B5EF4-FFF2-40B4-BE49-F238E27FC236}">
                <a16:creationId xmlns:a16="http://schemas.microsoft.com/office/drawing/2014/main" xmlns="" id="{E25A4110-FDC6-8848-A56F-0D874AAE3CCB}"/>
              </a:ext>
            </a:extLst>
          </p:cNvPr>
          <p:cNvCxnSpPr/>
          <p:nvPr/>
        </p:nvCxnSpPr>
        <p:spPr>
          <a:xfrm>
            <a:off x="9569592" y="3886200"/>
            <a:ext cx="0" cy="1043539"/>
          </a:xfrm>
          <a:prstGeom prst="line">
            <a:avLst/>
          </a:prstGeom>
          <a:noFill/>
          <a:ln w="28575" cap="flat" cmpd="sng" algn="ctr">
            <a:solidFill>
              <a:schemeClr val="tx2"/>
            </a:solidFill>
            <a:prstDash val="solid"/>
            <a:miter lim="800000"/>
            <a:headEnd type="oval" w="med" len="med"/>
            <a:tailEnd type="oval" w="med" len="med"/>
          </a:ln>
          <a:effectLst/>
        </p:spPr>
      </p:cxnSp>
      <p:cxnSp>
        <p:nvCxnSpPr>
          <p:cNvPr id="55" name="Straight Connector 116">
            <a:extLst>
              <a:ext uri="{FF2B5EF4-FFF2-40B4-BE49-F238E27FC236}">
                <a16:creationId xmlns:a16="http://schemas.microsoft.com/office/drawing/2014/main" xmlns="" id="{E25A4110-FDC6-8848-A56F-0D874AAE3CCB}"/>
              </a:ext>
            </a:extLst>
          </p:cNvPr>
          <p:cNvCxnSpPr/>
          <p:nvPr/>
        </p:nvCxnSpPr>
        <p:spPr>
          <a:xfrm>
            <a:off x="10224155" y="4800600"/>
            <a:ext cx="0" cy="129139"/>
          </a:xfrm>
          <a:prstGeom prst="line">
            <a:avLst/>
          </a:prstGeom>
          <a:noFill/>
          <a:ln w="28575" cap="flat" cmpd="sng" algn="ctr">
            <a:solidFill>
              <a:schemeClr val="accent6"/>
            </a:solidFill>
            <a:prstDash val="solid"/>
            <a:miter lim="800000"/>
            <a:headEnd type="oval" w="med" len="med"/>
            <a:tailEnd type="oval" w="med" len="med"/>
          </a:ln>
          <a:effectLst/>
        </p:spPr>
      </p:cxnSp>
      <p:cxnSp>
        <p:nvCxnSpPr>
          <p:cNvPr id="56" name="Straight Connector 116">
            <a:extLst>
              <a:ext uri="{FF2B5EF4-FFF2-40B4-BE49-F238E27FC236}">
                <a16:creationId xmlns:a16="http://schemas.microsoft.com/office/drawing/2014/main" xmlns="" id="{E25A4110-FDC6-8848-A56F-0D874AAE3CCB}"/>
              </a:ext>
            </a:extLst>
          </p:cNvPr>
          <p:cNvCxnSpPr/>
          <p:nvPr/>
        </p:nvCxnSpPr>
        <p:spPr>
          <a:xfrm>
            <a:off x="10490107" y="3467100"/>
            <a:ext cx="0" cy="1462639"/>
          </a:xfrm>
          <a:prstGeom prst="line">
            <a:avLst/>
          </a:prstGeom>
          <a:noFill/>
          <a:ln w="28575" cap="flat" cmpd="sng" algn="ctr">
            <a:solidFill>
              <a:schemeClr val="tx2"/>
            </a:solidFill>
            <a:prstDash val="solid"/>
            <a:miter lim="800000"/>
            <a:headEnd type="oval" w="med" len="med"/>
            <a:tailEnd type="oval" w="med" len="med"/>
          </a:ln>
          <a:effectLst/>
        </p:spPr>
      </p:cxnSp>
      <p:cxnSp>
        <p:nvCxnSpPr>
          <p:cNvPr id="63" name="Straight Connector 116">
            <a:extLst>
              <a:ext uri="{FF2B5EF4-FFF2-40B4-BE49-F238E27FC236}">
                <a16:creationId xmlns:a16="http://schemas.microsoft.com/office/drawing/2014/main" xmlns="" id="{E25A4110-FDC6-8848-A56F-0D874AAE3CCB}"/>
              </a:ext>
            </a:extLst>
          </p:cNvPr>
          <p:cNvCxnSpPr/>
          <p:nvPr/>
        </p:nvCxnSpPr>
        <p:spPr>
          <a:xfrm>
            <a:off x="11239500" y="4312719"/>
            <a:ext cx="0" cy="617020"/>
          </a:xfrm>
          <a:prstGeom prst="line">
            <a:avLst/>
          </a:prstGeom>
          <a:noFill/>
          <a:ln w="28575" cap="flat" cmpd="sng" algn="ctr">
            <a:solidFill>
              <a:schemeClr val="accent6"/>
            </a:solidFill>
            <a:prstDash val="solid"/>
            <a:miter lim="800000"/>
            <a:headEnd type="oval" w="med" len="med"/>
            <a:tailEnd type="oval" w="med" len="med"/>
          </a:ln>
          <a:effectLst/>
        </p:spPr>
      </p:cxnSp>
      <p:cxnSp>
        <p:nvCxnSpPr>
          <p:cNvPr id="64" name="Straight Connector 116">
            <a:extLst>
              <a:ext uri="{FF2B5EF4-FFF2-40B4-BE49-F238E27FC236}">
                <a16:creationId xmlns:a16="http://schemas.microsoft.com/office/drawing/2014/main" xmlns="" id="{E25A4110-FDC6-8848-A56F-0D874AAE3CCB}"/>
              </a:ext>
            </a:extLst>
          </p:cNvPr>
          <p:cNvCxnSpPr/>
          <p:nvPr/>
        </p:nvCxnSpPr>
        <p:spPr>
          <a:xfrm>
            <a:off x="11495947" y="4132904"/>
            <a:ext cx="0" cy="796835"/>
          </a:xfrm>
          <a:prstGeom prst="line">
            <a:avLst/>
          </a:prstGeom>
          <a:noFill/>
          <a:ln w="28575" cap="flat" cmpd="sng" algn="ctr">
            <a:solidFill>
              <a:schemeClr val="tx2"/>
            </a:solidFill>
            <a:prstDash val="solid"/>
            <a:miter lim="800000"/>
            <a:headEnd type="oval" w="med" len="med"/>
            <a:tailEnd type="oval" w="med" len="med"/>
          </a:ln>
          <a:effectLst/>
        </p:spPr>
      </p:cxn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4C64AFC6-758A-4D7B-A58D-2994EBAE677F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C24EC536-6FE3-4540-8D85-74C58F0BF697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943041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41B987AB-208D-4514-9402-2865A77290F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r>
              <a:rPr lang="en-US" altLang="en-US" sz="1600" dirty="0"/>
              <a:t>Indicative cost for HV transmission systems by type and distance from shore </a:t>
            </a:r>
          </a:p>
          <a:p>
            <a:endParaRPr lang="en-US" dirty="0"/>
          </a:p>
        </p:txBody>
      </p:sp>
      <p:sp>
        <p:nvSpPr>
          <p:cNvPr id="80" name="Content Placeholder 8"/>
          <p:cNvSpPr>
            <a:spLocks noGrp="1"/>
          </p:cNvSpPr>
          <p:nvPr>
            <p:ph sz="quarter" idx="19"/>
          </p:nvPr>
        </p:nvSpPr>
        <p:spPr>
          <a:xfrm>
            <a:off x="263524" y="2302350"/>
            <a:ext cx="3671175" cy="4042887"/>
          </a:xfrm>
        </p:spPr>
        <p:txBody>
          <a:bodyPr/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dirty="0"/>
              <a:t>With increased distances from shore, offshore wind farm developers will benefit from using HVDC as their grid connection solution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ffshore wind connections</a:t>
            </a:r>
            <a:endParaRPr lang="en-US" b="0" dirty="0"/>
          </a:p>
        </p:txBody>
      </p:sp>
      <p:cxnSp>
        <p:nvCxnSpPr>
          <p:cNvPr id="147" name="Straight Arrow Connector 146"/>
          <p:cNvCxnSpPr/>
          <p:nvPr/>
        </p:nvCxnSpPr>
        <p:spPr>
          <a:xfrm flipV="1">
            <a:off x="5949786" y="1874706"/>
            <a:ext cx="0" cy="3293158"/>
          </a:xfrm>
          <a:prstGeom prst="straightConnector1">
            <a:avLst/>
          </a:prstGeom>
          <a:ln w="285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Straight Arrow Connector 147"/>
          <p:cNvCxnSpPr/>
          <p:nvPr/>
        </p:nvCxnSpPr>
        <p:spPr>
          <a:xfrm>
            <a:off x="5949786" y="5167864"/>
            <a:ext cx="4974888" cy="11769"/>
          </a:xfrm>
          <a:prstGeom prst="straightConnector1">
            <a:avLst/>
          </a:prstGeom>
          <a:ln w="285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9" name="Freeform 148"/>
          <p:cNvSpPr/>
          <p:nvPr/>
        </p:nvSpPr>
        <p:spPr>
          <a:xfrm>
            <a:off x="5953125" y="1952625"/>
            <a:ext cx="4953000" cy="3250389"/>
          </a:xfrm>
          <a:custGeom>
            <a:avLst/>
            <a:gdLst>
              <a:gd name="connsiteX0" fmla="*/ 0 w 4953000"/>
              <a:gd name="connsiteY0" fmla="*/ 3228975 h 3250389"/>
              <a:gd name="connsiteX1" fmla="*/ 2400300 w 4953000"/>
              <a:gd name="connsiteY1" fmla="*/ 2771775 h 3250389"/>
              <a:gd name="connsiteX2" fmla="*/ 4953000 w 4953000"/>
              <a:gd name="connsiteY2" fmla="*/ 0 h 32503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953000" h="3250389">
                <a:moveTo>
                  <a:pt x="0" y="3228975"/>
                </a:moveTo>
                <a:cubicBezTo>
                  <a:pt x="787400" y="3269456"/>
                  <a:pt x="1574800" y="3309938"/>
                  <a:pt x="2400300" y="2771775"/>
                </a:cubicBezTo>
                <a:cubicBezTo>
                  <a:pt x="3225800" y="2233612"/>
                  <a:pt x="4089400" y="1116806"/>
                  <a:pt x="4953000" y="0"/>
                </a:cubicBezTo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0" name="Freeform 149"/>
          <p:cNvSpPr/>
          <p:nvPr/>
        </p:nvSpPr>
        <p:spPr>
          <a:xfrm>
            <a:off x="5943600" y="1952625"/>
            <a:ext cx="4972050" cy="3228975"/>
          </a:xfrm>
          <a:custGeom>
            <a:avLst/>
            <a:gdLst>
              <a:gd name="connsiteX0" fmla="*/ 0 w 4972050"/>
              <a:gd name="connsiteY0" fmla="*/ 3228975 h 3228975"/>
              <a:gd name="connsiteX1" fmla="*/ 1076325 w 4972050"/>
              <a:gd name="connsiteY1" fmla="*/ 2886075 h 3228975"/>
              <a:gd name="connsiteX2" fmla="*/ 3324225 w 4972050"/>
              <a:gd name="connsiteY2" fmla="*/ 2466975 h 3228975"/>
              <a:gd name="connsiteX3" fmla="*/ 4972050 w 4972050"/>
              <a:gd name="connsiteY3" fmla="*/ 0 h 3228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972050" h="3228975">
                <a:moveTo>
                  <a:pt x="0" y="3228975"/>
                </a:moveTo>
                <a:lnTo>
                  <a:pt x="1076325" y="2886075"/>
                </a:lnTo>
                <a:lnTo>
                  <a:pt x="3324225" y="2466975"/>
                </a:lnTo>
                <a:lnTo>
                  <a:pt x="4972050" y="0"/>
                </a:lnTo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1" name="TextBox 150"/>
          <p:cNvSpPr txBox="1"/>
          <p:nvPr/>
        </p:nvSpPr>
        <p:spPr>
          <a:xfrm rot="16200000">
            <a:off x="4671712" y="3408168"/>
            <a:ext cx="2149904" cy="22623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US" sz="1400" dirty="0"/>
              <a:t>System CAPEX </a:t>
            </a:r>
            <a:r>
              <a:rPr lang="en-US" sz="1400" dirty="0" err="1"/>
              <a:t>incl</a:t>
            </a:r>
            <a:r>
              <a:rPr lang="en-US" sz="1400" dirty="0"/>
              <a:t> cable</a:t>
            </a:r>
            <a:endParaRPr lang="en-US" sz="1400" baseline="-25000" dirty="0"/>
          </a:p>
        </p:txBody>
      </p:sp>
      <p:sp>
        <p:nvSpPr>
          <p:cNvPr id="187" name="TextBox 186"/>
          <p:cNvSpPr txBox="1"/>
          <p:nvPr/>
        </p:nvSpPr>
        <p:spPr>
          <a:xfrm>
            <a:off x="10918596" y="5325342"/>
            <a:ext cx="375830" cy="19262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r>
              <a:rPr lang="en-US" sz="1400" b="1" dirty="0"/>
              <a:t>Km</a:t>
            </a:r>
            <a:endParaRPr lang="en-US" sz="1400" b="1" baseline="-25000" dirty="0"/>
          </a:p>
        </p:txBody>
      </p:sp>
      <p:sp>
        <p:nvSpPr>
          <p:cNvPr id="192" name="TextBox 191"/>
          <p:cNvSpPr txBox="1"/>
          <p:nvPr/>
        </p:nvSpPr>
        <p:spPr>
          <a:xfrm>
            <a:off x="6115167" y="5319657"/>
            <a:ext cx="367552" cy="19830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US" sz="1400" dirty="0"/>
              <a:t>10-50</a:t>
            </a:r>
            <a:endParaRPr lang="en-US" sz="1400" baseline="-25000" dirty="0"/>
          </a:p>
        </p:txBody>
      </p:sp>
      <p:sp>
        <p:nvSpPr>
          <p:cNvPr id="193" name="TextBox 192"/>
          <p:cNvSpPr txBox="1"/>
          <p:nvPr/>
        </p:nvSpPr>
        <p:spPr>
          <a:xfrm>
            <a:off x="7233900" y="5319657"/>
            <a:ext cx="498070" cy="19830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US" sz="1400" dirty="0"/>
              <a:t>50-100</a:t>
            </a:r>
            <a:endParaRPr lang="en-US" sz="1400" baseline="-25000" dirty="0"/>
          </a:p>
        </p:txBody>
      </p:sp>
      <p:sp>
        <p:nvSpPr>
          <p:cNvPr id="194" name="TextBox 193"/>
          <p:cNvSpPr txBox="1"/>
          <p:nvPr/>
        </p:nvSpPr>
        <p:spPr>
          <a:xfrm>
            <a:off x="8483151" y="5319657"/>
            <a:ext cx="573347" cy="19830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US" sz="1400" dirty="0"/>
              <a:t>100-150</a:t>
            </a:r>
            <a:endParaRPr lang="en-US" sz="1400" baseline="-25000" dirty="0"/>
          </a:p>
        </p:txBody>
      </p:sp>
      <p:sp>
        <p:nvSpPr>
          <p:cNvPr id="195" name="TextBox 194"/>
          <p:cNvSpPr txBox="1"/>
          <p:nvPr/>
        </p:nvSpPr>
        <p:spPr>
          <a:xfrm>
            <a:off x="9807678" y="5319657"/>
            <a:ext cx="632368" cy="19830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US" sz="1400" dirty="0"/>
              <a:t>150-200</a:t>
            </a:r>
            <a:endParaRPr lang="en-US" sz="1400" baseline="-25000" dirty="0"/>
          </a:p>
        </p:txBody>
      </p:sp>
      <p:cxnSp>
        <p:nvCxnSpPr>
          <p:cNvPr id="196" name="Straight Connector 116">
            <a:extLst>
              <a:ext uri="{FF2B5EF4-FFF2-40B4-BE49-F238E27FC236}">
                <a16:creationId xmlns:a16="http://schemas.microsoft.com/office/drawing/2014/main" xmlns="" id="{E25A4110-FDC6-8848-A56F-0D874AAE3CCB}"/>
              </a:ext>
            </a:extLst>
          </p:cNvPr>
          <p:cNvCxnSpPr/>
          <p:nvPr/>
        </p:nvCxnSpPr>
        <p:spPr>
          <a:xfrm>
            <a:off x="6216767" y="5727700"/>
            <a:ext cx="0" cy="446906"/>
          </a:xfrm>
          <a:prstGeom prst="line">
            <a:avLst/>
          </a:prstGeom>
          <a:noFill/>
          <a:ln w="38100" cap="flat" cmpd="sng" algn="ctr">
            <a:solidFill>
              <a:schemeClr val="accent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197" name="Straight Connector 116">
            <a:extLst>
              <a:ext uri="{FF2B5EF4-FFF2-40B4-BE49-F238E27FC236}">
                <a16:creationId xmlns:a16="http://schemas.microsoft.com/office/drawing/2014/main" xmlns="" id="{E25A4110-FDC6-8848-A56F-0D874AAE3CCB}"/>
              </a:ext>
            </a:extLst>
          </p:cNvPr>
          <p:cNvCxnSpPr/>
          <p:nvPr/>
        </p:nvCxnSpPr>
        <p:spPr>
          <a:xfrm>
            <a:off x="6838319" y="5727700"/>
            <a:ext cx="0" cy="446906"/>
          </a:xfrm>
          <a:prstGeom prst="line">
            <a:avLst/>
          </a:prstGeom>
          <a:noFill/>
          <a:ln w="38100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198" name="Straight Connector 116">
            <a:extLst>
              <a:ext uri="{FF2B5EF4-FFF2-40B4-BE49-F238E27FC236}">
                <a16:creationId xmlns:a16="http://schemas.microsoft.com/office/drawing/2014/main" xmlns="" id="{E25A4110-FDC6-8848-A56F-0D874AAE3CCB}"/>
              </a:ext>
            </a:extLst>
          </p:cNvPr>
          <p:cNvCxnSpPr/>
          <p:nvPr/>
        </p:nvCxnSpPr>
        <p:spPr>
          <a:xfrm>
            <a:off x="7282096" y="4024610"/>
            <a:ext cx="0" cy="571627"/>
          </a:xfrm>
          <a:prstGeom prst="line">
            <a:avLst/>
          </a:prstGeom>
          <a:noFill/>
          <a:ln w="28575" cap="flat" cmpd="sng" algn="ctr">
            <a:solidFill>
              <a:schemeClr val="accent6"/>
            </a:solidFill>
            <a:prstDash val="solid"/>
            <a:miter lim="800000"/>
            <a:headEnd type="oval" w="med" len="med"/>
            <a:tailEnd type="oval" w="med" len="med"/>
          </a:ln>
          <a:effectLst/>
        </p:spPr>
      </p:cxnSp>
      <p:cxnSp>
        <p:nvCxnSpPr>
          <p:cNvPr id="199" name="Straight Connector 116">
            <a:extLst>
              <a:ext uri="{FF2B5EF4-FFF2-40B4-BE49-F238E27FC236}">
                <a16:creationId xmlns:a16="http://schemas.microsoft.com/office/drawing/2014/main" xmlns="" id="{E25A4110-FDC6-8848-A56F-0D874AAE3CCB}"/>
              </a:ext>
            </a:extLst>
          </p:cNvPr>
          <p:cNvCxnSpPr/>
          <p:nvPr/>
        </p:nvCxnSpPr>
        <p:spPr>
          <a:xfrm>
            <a:off x="7548048" y="4024610"/>
            <a:ext cx="0" cy="146886"/>
          </a:xfrm>
          <a:prstGeom prst="line">
            <a:avLst/>
          </a:prstGeom>
          <a:noFill/>
          <a:ln w="28575" cap="flat" cmpd="sng" algn="ctr">
            <a:solidFill>
              <a:schemeClr val="tx2"/>
            </a:solidFill>
            <a:prstDash val="solid"/>
            <a:miter lim="800000"/>
            <a:headEnd type="oval" w="med" len="med"/>
            <a:tailEnd type="oval" w="med" len="med"/>
          </a:ln>
          <a:effectLst/>
        </p:spPr>
      </p:cxnSp>
      <p:cxnSp>
        <p:nvCxnSpPr>
          <p:cNvPr id="200" name="Straight Connector 116">
            <a:extLst>
              <a:ext uri="{FF2B5EF4-FFF2-40B4-BE49-F238E27FC236}">
                <a16:creationId xmlns:a16="http://schemas.microsoft.com/office/drawing/2014/main" xmlns="" id="{E25A4110-FDC6-8848-A56F-0D874AAE3CCB}"/>
              </a:ext>
            </a:extLst>
          </p:cNvPr>
          <p:cNvCxnSpPr/>
          <p:nvPr/>
        </p:nvCxnSpPr>
        <p:spPr>
          <a:xfrm>
            <a:off x="8646438" y="3286125"/>
            <a:ext cx="0" cy="738485"/>
          </a:xfrm>
          <a:prstGeom prst="line">
            <a:avLst/>
          </a:prstGeom>
          <a:noFill/>
          <a:ln w="28575" cap="flat" cmpd="sng" algn="ctr">
            <a:solidFill>
              <a:schemeClr val="accent6"/>
            </a:solidFill>
            <a:prstDash val="solid"/>
            <a:miter lim="800000"/>
            <a:headEnd type="oval" w="med" len="med"/>
            <a:tailEnd type="oval" w="med" len="med"/>
          </a:ln>
          <a:effectLst/>
        </p:spPr>
      </p:cxnSp>
      <p:cxnSp>
        <p:nvCxnSpPr>
          <p:cNvPr id="201" name="Straight Connector 116">
            <a:extLst>
              <a:ext uri="{FF2B5EF4-FFF2-40B4-BE49-F238E27FC236}">
                <a16:creationId xmlns:a16="http://schemas.microsoft.com/office/drawing/2014/main" xmlns="" id="{E25A4110-FDC6-8848-A56F-0D874AAE3CCB}"/>
              </a:ext>
            </a:extLst>
          </p:cNvPr>
          <p:cNvCxnSpPr/>
          <p:nvPr/>
        </p:nvCxnSpPr>
        <p:spPr>
          <a:xfrm>
            <a:off x="8912390" y="3866696"/>
            <a:ext cx="0" cy="157914"/>
          </a:xfrm>
          <a:prstGeom prst="line">
            <a:avLst/>
          </a:prstGeom>
          <a:noFill/>
          <a:ln w="28575" cap="flat" cmpd="sng" algn="ctr">
            <a:solidFill>
              <a:schemeClr val="tx2"/>
            </a:solidFill>
            <a:prstDash val="solid"/>
            <a:miter lim="800000"/>
            <a:headEnd type="oval" w="med" len="med"/>
            <a:tailEnd type="oval" w="med" len="med"/>
          </a:ln>
          <a:effectLst/>
        </p:spPr>
      </p:cxnSp>
      <p:cxnSp>
        <p:nvCxnSpPr>
          <p:cNvPr id="202" name="Straight Connector 116">
            <a:extLst>
              <a:ext uri="{FF2B5EF4-FFF2-40B4-BE49-F238E27FC236}">
                <a16:creationId xmlns:a16="http://schemas.microsoft.com/office/drawing/2014/main" xmlns="" id="{E25A4110-FDC6-8848-A56F-0D874AAE3CCB}"/>
              </a:ext>
            </a:extLst>
          </p:cNvPr>
          <p:cNvCxnSpPr/>
          <p:nvPr/>
        </p:nvCxnSpPr>
        <p:spPr>
          <a:xfrm>
            <a:off x="10002798" y="2642890"/>
            <a:ext cx="0" cy="738485"/>
          </a:xfrm>
          <a:prstGeom prst="line">
            <a:avLst/>
          </a:prstGeom>
          <a:noFill/>
          <a:ln w="28575" cap="flat" cmpd="sng" algn="ctr">
            <a:solidFill>
              <a:schemeClr val="accent6"/>
            </a:solidFill>
            <a:prstDash val="solid"/>
            <a:miter lim="800000"/>
            <a:headEnd type="oval" w="med" len="med"/>
            <a:tailEnd type="oval" w="med" len="med"/>
          </a:ln>
          <a:effectLst/>
        </p:spPr>
      </p:cxnSp>
      <p:cxnSp>
        <p:nvCxnSpPr>
          <p:cNvPr id="203" name="Straight Connector 116">
            <a:extLst>
              <a:ext uri="{FF2B5EF4-FFF2-40B4-BE49-F238E27FC236}">
                <a16:creationId xmlns:a16="http://schemas.microsoft.com/office/drawing/2014/main" xmlns="" id="{E25A4110-FDC6-8848-A56F-0D874AAE3CCB}"/>
              </a:ext>
            </a:extLst>
          </p:cNvPr>
          <p:cNvCxnSpPr/>
          <p:nvPr/>
        </p:nvCxnSpPr>
        <p:spPr>
          <a:xfrm>
            <a:off x="10268750" y="3695700"/>
            <a:ext cx="0" cy="152400"/>
          </a:xfrm>
          <a:prstGeom prst="line">
            <a:avLst/>
          </a:prstGeom>
          <a:noFill/>
          <a:ln w="28575" cap="flat" cmpd="sng" algn="ctr">
            <a:solidFill>
              <a:schemeClr val="tx2"/>
            </a:solidFill>
            <a:prstDash val="solid"/>
            <a:miter lim="800000"/>
            <a:headEnd type="oval" w="med" len="med"/>
            <a:tailEnd type="oval" w="med" len="med"/>
          </a:ln>
          <a:effectLst/>
        </p:spPr>
      </p:cxnSp>
      <p:sp>
        <p:nvSpPr>
          <p:cNvPr id="204" name="TextBox 203"/>
          <p:cNvSpPr txBox="1"/>
          <p:nvPr/>
        </p:nvSpPr>
        <p:spPr>
          <a:xfrm>
            <a:off x="6866348" y="5884579"/>
            <a:ext cx="367552" cy="19830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US" sz="1200" b="1" dirty="0"/>
              <a:t>DC</a:t>
            </a:r>
            <a:endParaRPr lang="en-US" sz="1200" b="1" baseline="-25000" dirty="0"/>
          </a:p>
        </p:txBody>
      </p:sp>
      <p:sp>
        <p:nvSpPr>
          <p:cNvPr id="205" name="TextBox 204"/>
          <p:cNvSpPr txBox="1"/>
          <p:nvPr/>
        </p:nvSpPr>
        <p:spPr>
          <a:xfrm>
            <a:off x="6289984" y="5884579"/>
            <a:ext cx="367552" cy="19830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US" sz="1200" b="1" dirty="0"/>
              <a:t>AC</a:t>
            </a:r>
            <a:endParaRPr lang="en-US" sz="1200" b="1" baseline="-25000" dirty="0"/>
          </a:p>
        </p:txBody>
      </p:sp>
      <p:cxnSp>
        <p:nvCxnSpPr>
          <p:cNvPr id="206" name="Straight Connector 116">
            <a:extLst>
              <a:ext uri="{FF2B5EF4-FFF2-40B4-BE49-F238E27FC236}">
                <a16:creationId xmlns:a16="http://schemas.microsoft.com/office/drawing/2014/main" xmlns="" id="{E25A4110-FDC6-8848-A56F-0D874AAE3CCB}"/>
              </a:ext>
            </a:extLst>
          </p:cNvPr>
          <p:cNvCxnSpPr/>
          <p:nvPr/>
        </p:nvCxnSpPr>
        <p:spPr>
          <a:xfrm>
            <a:off x="6216767" y="4683125"/>
            <a:ext cx="0" cy="484739"/>
          </a:xfrm>
          <a:prstGeom prst="line">
            <a:avLst/>
          </a:prstGeom>
          <a:noFill/>
          <a:ln w="28575" cap="flat" cmpd="sng" algn="ctr">
            <a:solidFill>
              <a:schemeClr val="accent6"/>
            </a:solidFill>
            <a:prstDash val="solid"/>
            <a:miter lim="800000"/>
            <a:headEnd type="oval" w="med" len="med"/>
            <a:tailEnd type="oval" w="med" len="med"/>
          </a:ln>
          <a:effectLst/>
        </p:spPr>
      </p:cxnSp>
      <p:cxnSp>
        <p:nvCxnSpPr>
          <p:cNvPr id="207" name="Straight Connector 116">
            <a:extLst>
              <a:ext uri="{FF2B5EF4-FFF2-40B4-BE49-F238E27FC236}">
                <a16:creationId xmlns:a16="http://schemas.microsoft.com/office/drawing/2014/main" xmlns="" id="{E25A4110-FDC6-8848-A56F-0D874AAE3CCB}"/>
              </a:ext>
            </a:extLst>
          </p:cNvPr>
          <p:cNvCxnSpPr/>
          <p:nvPr/>
        </p:nvCxnSpPr>
        <p:spPr>
          <a:xfrm>
            <a:off x="6482719" y="4416425"/>
            <a:ext cx="0" cy="751439"/>
          </a:xfrm>
          <a:prstGeom prst="line">
            <a:avLst/>
          </a:prstGeom>
          <a:noFill/>
          <a:ln w="28575" cap="flat" cmpd="sng" algn="ctr">
            <a:solidFill>
              <a:schemeClr val="tx2"/>
            </a:solidFill>
            <a:prstDash val="solid"/>
            <a:miter lim="800000"/>
            <a:headEnd type="oval" w="med" len="med"/>
            <a:tailEnd type="oval" w="med" len="med"/>
          </a:ln>
          <a:effectLst/>
        </p:spPr>
      </p:cxn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823C273D-D502-4AFB-90EB-B327648CE17C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C24EC536-6FE3-4540-8D85-74C58F0BF697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034259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map of the world&#10;&#10;Description automatically generated with medium confidence">
            <a:extLst>
              <a:ext uri="{FF2B5EF4-FFF2-40B4-BE49-F238E27FC236}">
                <a16:creationId xmlns:a16="http://schemas.microsoft.com/office/drawing/2014/main" xmlns="" id="{2BAB1FBE-8478-E9D8-69BF-632190676F8C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50838" y="883944"/>
            <a:ext cx="10639459" cy="5983200"/>
          </a:xfrm>
          <a:prstGeom prst="rect">
            <a:avLst/>
          </a:prstGeom>
        </p:spPr>
      </p:pic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7" imgW="353" imgH="363" progId="TCLayout.ActiveDocument.1">
                  <p:embed/>
                </p:oleObj>
              </mc:Choice>
              <mc:Fallback>
                <p:oleObj name="think-cell Slide" r:id="rId7" imgW="353" imgH="363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endParaRPr lang="en-US" sz="160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63524" y="187199"/>
            <a:ext cx="8856000" cy="435600"/>
          </a:xfrm>
        </p:spPr>
        <p:txBody>
          <a:bodyPr/>
          <a:lstStyle/>
          <a:p>
            <a:r>
              <a:rPr lang="en-US" dirty="0"/>
              <a:t>HVDC becoming mainstream in all corners of the world</a:t>
            </a:r>
            <a:br>
              <a:rPr lang="en-US" dirty="0"/>
            </a:br>
            <a:r>
              <a:rPr lang="en-US" sz="1600" b="0" dirty="0"/>
              <a:t>Interconnecting Grid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xmlns="" id="{52EFAEA9-CD9C-458F-9F92-26D8BB29A8B5}"/>
              </a:ext>
            </a:extLst>
          </p:cNvPr>
          <p:cNvGrpSpPr/>
          <p:nvPr/>
        </p:nvGrpSpPr>
        <p:grpSpPr>
          <a:xfrm>
            <a:off x="308998" y="3315422"/>
            <a:ext cx="2749897" cy="861774"/>
            <a:chOff x="308998" y="3315422"/>
            <a:chExt cx="2749897" cy="861774"/>
          </a:xfrm>
        </p:grpSpPr>
        <p:sp>
          <p:nvSpPr>
            <p:cNvPr id="456" name="Text Placeholder 3">
              <a:extLst>
                <a:ext uri="{FF2B5EF4-FFF2-40B4-BE49-F238E27FC236}">
                  <a16:creationId xmlns:a16="http://schemas.microsoft.com/office/drawing/2014/main" xmlns="" id="{262533A1-0E0A-E44D-90F0-BEAE700C4BB4}"/>
                </a:ext>
              </a:extLst>
            </p:cNvPr>
            <p:cNvSpPr txBox="1">
              <a:spLocks/>
            </p:cNvSpPr>
            <p:nvPr/>
          </p:nvSpPr>
          <p:spPr>
            <a:xfrm>
              <a:off x="1033078" y="3315422"/>
              <a:ext cx="2025817" cy="861774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indent="0" algn="ctr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1000" b="0" i="0">
                  <a:latin typeface="ABBvoice" charset="0"/>
                  <a:ea typeface="ABBvoice" charset="0"/>
                  <a:cs typeface="ABBvoice" charset="0"/>
                </a:defRPr>
              </a:lvl1pPr>
              <a:lvl2pPr indent="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000" b="0" i="0">
                  <a:latin typeface="ABBvoice" charset="0"/>
                  <a:ea typeface="ABBvoice" charset="0"/>
                  <a:cs typeface="ABBvoice" charset="0"/>
                </a:defRPr>
              </a:lvl2pPr>
              <a:lvl3pPr indent="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b="1"/>
              </a:lvl3pPr>
              <a:lvl4pPr indent="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400"/>
              </a:lvl4pPr>
              <a:lvl5pPr indent="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100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>
                <a:lnSpc>
                  <a:spcPct val="100000"/>
                </a:lnSpc>
                <a:spcBef>
                  <a:spcPts val="0"/>
                </a:spcBef>
              </a:pPr>
              <a:r>
                <a:rPr lang="en-US" sz="2800" b="1" dirty="0">
                  <a:solidFill>
                    <a:schemeClr val="tx2"/>
                  </a:solidFill>
                  <a:latin typeface="+mj-lt"/>
                  <a:cs typeface="Arial" panose="020B0604020202020204" pitchFamily="34" charset="0"/>
                </a:rPr>
                <a:t>~3x</a:t>
              </a:r>
            </a:p>
            <a:p>
              <a:pPr>
                <a:lnSpc>
                  <a:spcPct val="100000"/>
                </a:lnSpc>
                <a:spcBef>
                  <a:spcPts val="0"/>
                </a:spcBef>
              </a:pPr>
              <a:r>
                <a:rPr lang="en-US" sz="1400" dirty="0">
                  <a:latin typeface="+mj-lt"/>
                  <a:cs typeface="Arial" panose="020B0604020202020204" pitchFamily="34" charset="0"/>
                </a:rPr>
                <a:t>Growth rate</a:t>
              </a:r>
            </a:p>
            <a:p>
              <a:pPr>
                <a:lnSpc>
                  <a:spcPct val="100000"/>
                </a:lnSpc>
                <a:spcBef>
                  <a:spcPts val="0"/>
                </a:spcBef>
              </a:pPr>
              <a:r>
                <a:rPr lang="en-US" sz="1400" dirty="0">
                  <a:latin typeface="+mj-lt"/>
                  <a:cs typeface="Arial" panose="020B0604020202020204" pitchFamily="34" charset="0"/>
                </a:rPr>
                <a:t>vs. world GDP</a:t>
              </a:r>
            </a:p>
          </p:txBody>
        </p:sp>
        <p:grpSp>
          <p:nvGrpSpPr>
            <p:cNvPr id="1359" name="Group 1358">
              <a:extLst>
                <a:ext uri="{FF2B5EF4-FFF2-40B4-BE49-F238E27FC236}">
                  <a16:creationId xmlns:a16="http://schemas.microsoft.com/office/drawing/2014/main" xmlns="" id="{4DC8ACAD-8B7F-404C-AB1D-FBA93FE3FB77}"/>
                </a:ext>
              </a:extLst>
            </p:cNvPr>
            <p:cNvGrpSpPr/>
            <p:nvPr/>
          </p:nvGrpSpPr>
          <p:grpSpPr>
            <a:xfrm>
              <a:off x="308998" y="3409820"/>
              <a:ext cx="672979" cy="672979"/>
              <a:chOff x="120710" y="120710"/>
              <a:chExt cx="672979" cy="672979"/>
            </a:xfrm>
          </p:grpSpPr>
          <p:grpSp>
            <p:nvGrpSpPr>
              <p:cNvPr id="1360" name="Group 1359">
                <a:extLst>
                  <a:ext uri="{FF2B5EF4-FFF2-40B4-BE49-F238E27FC236}">
                    <a16:creationId xmlns:a16="http://schemas.microsoft.com/office/drawing/2014/main" xmlns="" id="{6B334816-4600-444F-A50C-A354A0C669ED}"/>
                  </a:ext>
                </a:extLst>
              </p:cNvPr>
              <p:cNvGrpSpPr/>
              <p:nvPr/>
            </p:nvGrpSpPr>
            <p:grpSpPr>
              <a:xfrm>
                <a:off x="120710" y="120710"/>
                <a:ext cx="672979" cy="672979"/>
                <a:chOff x="120710" y="120710"/>
                <a:chExt cx="672979" cy="672979"/>
              </a:xfrm>
            </p:grpSpPr>
            <p:sp>
              <p:nvSpPr>
                <p:cNvPr id="1364" name="Freeform: Shape 214">
                  <a:extLst>
                    <a:ext uri="{FF2B5EF4-FFF2-40B4-BE49-F238E27FC236}">
                      <a16:creationId xmlns:a16="http://schemas.microsoft.com/office/drawing/2014/main" xmlns="" id="{403C8DDE-7243-43EC-B5FB-DB0F93375F57}"/>
                    </a:ext>
                  </a:extLst>
                </p:cNvPr>
                <p:cNvSpPr/>
                <p:nvPr/>
              </p:nvSpPr>
              <p:spPr>
                <a:xfrm>
                  <a:off x="120710" y="120710"/>
                  <a:ext cx="672979" cy="672979"/>
                </a:xfrm>
                <a:custGeom>
                  <a:avLst/>
                  <a:gdLst>
                    <a:gd name="connsiteX0" fmla="*/ 0 w 672979"/>
                    <a:gd name="connsiteY0" fmla="*/ 0 h 672979"/>
                    <a:gd name="connsiteX1" fmla="*/ 0 w 672979"/>
                    <a:gd name="connsiteY1" fmla="*/ 672980 h 672979"/>
                    <a:gd name="connsiteX2" fmla="*/ 672980 w 672979"/>
                    <a:gd name="connsiteY2" fmla="*/ 672980 h 6729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72979" h="672979">
                      <a:moveTo>
                        <a:pt x="0" y="0"/>
                      </a:moveTo>
                      <a:lnTo>
                        <a:pt x="0" y="672980"/>
                      </a:lnTo>
                      <a:lnTo>
                        <a:pt x="672980" y="672980"/>
                      </a:lnTo>
                    </a:path>
                  </a:pathLst>
                </a:custGeom>
                <a:noFill/>
                <a:ln w="16717" cap="rnd">
                  <a:solidFill>
                    <a:schemeClr val="tx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GB"/>
                </a:p>
              </p:txBody>
            </p:sp>
            <p:sp>
              <p:nvSpPr>
                <p:cNvPr id="1365" name="Freeform: Shape 215">
                  <a:extLst>
                    <a:ext uri="{FF2B5EF4-FFF2-40B4-BE49-F238E27FC236}">
                      <a16:creationId xmlns:a16="http://schemas.microsoft.com/office/drawing/2014/main" xmlns="" id="{170E9CC1-9C50-4136-BC54-E66958DE72BF}"/>
                    </a:ext>
                  </a:extLst>
                </p:cNvPr>
                <p:cNvSpPr/>
                <p:nvPr/>
              </p:nvSpPr>
              <p:spPr>
                <a:xfrm>
                  <a:off x="204832" y="675918"/>
                  <a:ext cx="67297" cy="117771"/>
                </a:xfrm>
                <a:custGeom>
                  <a:avLst/>
                  <a:gdLst>
                    <a:gd name="connsiteX0" fmla="*/ 0 w 67297"/>
                    <a:gd name="connsiteY0" fmla="*/ 0 h 117771"/>
                    <a:gd name="connsiteX1" fmla="*/ 67298 w 67297"/>
                    <a:gd name="connsiteY1" fmla="*/ 0 h 117771"/>
                    <a:gd name="connsiteX2" fmla="*/ 67298 w 67297"/>
                    <a:gd name="connsiteY2" fmla="*/ 117771 h 117771"/>
                    <a:gd name="connsiteX3" fmla="*/ 0 w 67297"/>
                    <a:gd name="connsiteY3" fmla="*/ 117771 h 1177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7297" h="117771">
                      <a:moveTo>
                        <a:pt x="0" y="0"/>
                      </a:moveTo>
                      <a:lnTo>
                        <a:pt x="67298" y="0"/>
                      </a:lnTo>
                      <a:lnTo>
                        <a:pt x="67298" y="117771"/>
                      </a:lnTo>
                      <a:lnTo>
                        <a:pt x="0" y="117771"/>
                      </a:lnTo>
                      <a:close/>
                    </a:path>
                  </a:pathLst>
                </a:custGeom>
                <a:noFill/>
                <a:ln w="16717" cap="rnd">
                  <a:solidFill>
                    <a:schemeClr val="tx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GB"/>
                </a:p>
              </p:txBody>
            </p:sp>
            <p:sp>
              <p:nvSpPr>
                <p:cNvPr id="1366" name="Freeform: Shape 216">
                  <a:extLst>
                    <a:ext uri="{FF2B5EF4-FFF2-40B4-BE49-F238E27FC236}">
                      <a16:creationId xmlns:a16="http://schemas.microsoft.com/office/drawing/2014/main" xmlns="" id="{77A160FF-1054-4393-ABA3-011949F19F31}"/>
                    </a:ext>
                  </a:extLst>
                </p:cNvPr>
                <p:cNvSpPr/>
                <p:nvPr/>
              </p:nvSpPr>
              <p:spPr>
                <a:xfrm>
                  <a:off x="356253" y="574971"/>
                  <a:ext cx="67297" cy="218718"/>
                </a:xfrm>
                <a:custGeom>
                  <a:avLst/>
                  <a:gdLst>
                    <a:gd name="connsiteX0" fmla="*/ 0 w 67297"/>
                    <a:gd name="connsiteY0" fmla="*/ 0 h 218718"/>
                    <a:gd name="connsiteX1" fmla="*/ 67298 w 67297"/>
                    <a:gd name="connsiteY1" fmla="*/ 0 h 218718"/>
                    <a:gd name="connsiteX2" fmla="*/ 67298 w 67297"/>
                    <a:gd name="connsiteY2" fmla="*/ 218718 h 218718"/>
                    <a:gd name="connsiteX3" fmla="*/ 0 w 67297"/>
                    <a:gd name="connsiteY3" fmla="*/ 218718 h 2187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7297" h="218718">
                      <a:moveTo>
                        <a:pt x="0" y="0"/>
                      </a:moveTo>
                      <a:lnTo>
                        <a:pt x="67298" y="0"/>
                      </a:lnTo>
                      <a:lnTo>
                        <a:pt x="67298" y="218718"/>
                      </a:lnTo>
                      <a:lnTo>
                        <a:pt x="0" y="218718"/>
                      </a:lnTo>
                      <a:close/>
                    </a:path>
                  </a:pathLst>
                </a:custGeom>
                <a:noFill/>
                <a:ln w="16717" cap="rnd">
                  <a:solidFill>
                    <a:schemeClr val="tx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GB"/>
                </a:p>
              </p:txBody>
            </p:sp>
            <p:sp>
              <p:nvSpPr>
                <p:cNvPr id="1367" name="Freeform: Shape 217">
                  <a:extLst>
                    <a:ext uri="{FF2B5EF4-FFF2-40B4-BE49-F238E27FC236}">
                      <a16:creationId xmlns:a16="http://schemas.microsoft.com/office/drawing/2014/main" xmlns="" id="{D5EB08D4-FB49-4D5F-AE7B-6E3D6E3797E3}"/>
                    </a:ext>
                  </a:extLst>
                </p:cNvPr>
                <p:cNvSpPr/>
                <p:nvPr/>
              </p:nvSpPr>
              <p:spPr>
                <a:xfrm>
                  <a:off x="507673" y="440375"/>
                  <a:ext cx="67297" cy="353314"/>
                </a:xfrm>
                <a:custGeom>
                  <a:avLst/>
                  <a:gdLst>
                    <a:gd name="connsiteX0" fmla="*/ 0 w 67297"/>
                    <a:gd name="connsiteY0" fmla="*/ 0 h 353314"/>
                    <a:gd name="connsiteX1" fmla="*/ 67298 w 67297"/>
                    <a:gd name="connsiteY1" fmla="*/ 0 h 353314"/>
                    <a:gd name="connsiteX2" fmla="*/ 67298 w 67297"/>
                    <a:gd name="connsiteY2" fmla="*/ 353314 h 353314"/>
                    <a:gd name="connsiteX3" fmla="*/ 0 w 67297"/>
                    <a:gd name="connsiteY3" fmla="*/ 353314 h 3533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7297" h="353314">
                      <a:moveTo>
                        <a:pt x="0" y="0"/>
                      </a:moveTo>
                      <a:lnTo>
                        <a:pt x="67298" y="0"/>
                      </a:lnTo>
                      <a:lnTo>
                        <a:pt x="67298" y="353314"/>
                      </a:lnTo>
                      <a:lnTo>
                        <a:pt x="0" y="353314"/>
                      </a:lnTo>
                      <a:close/>
                    </a:path>
                  </a:pathLst>
                </a:custGeom>
                <a:noFill/>
                <a:ln w="16717" cap="rnd">
                  <a:solidFill>
                    <a:schemeClr val="tx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GB"/>
                </a:p>
              </p:txBody>
            </p:sp>
            <p:sp>
              <p:nvSpPr>
                <p:cNvPr id="1368" name="Freeform: Shape 218">
                  <a:extLst>
                    <a:ext uri="{FF2B5EF4-FFF2-40B4-BE49-F238E27FC236}">
                      <a16:creationId xmlns:a16="http://schemas.microsoft.com/office/drawing/2014/main" xmlns="" id="{72210B62-9BFB-498B-BCE4-D3B9072DB448}"/>
                    </a:ext>
                  </a:extLst>
                </p:cNvPr>
                <p:cNvSpPr/>
                <p:nvPr/>
              </p:nvSpPr>
              <p:spPr>
                <a:xfrm>
                  <a:off x="659093" y="331016"/>
                  <a:ext cx="67297" cy="462673"/>
                </a:xfrm>
                <a:custGeom>
                  <a:avLst/>
                  <a:gdLst>
                    <a:gd name="connsiteX0" fmla="*/ 0 w 67297"/>
                    <a:gd name="connsiteY0" fmla="*/ 0 h 462673"/>
                    <a:gd name="connsiteX1" fmla="*/ 67298 w 67297"/>
                    <a:gd name="connsiteY1" fmla="*/ 0 h 462673"/>
                    <a:gd name="connsiteX2" fmla="*/ 67298 w 67297"/>
                    <a:gd name="connsiteY2" fmla="*/ 462673 h 462673"/>
                    <a:gd name="connsiteX3" fmla="*/ 0 w 67297"/>
                    <a:gd name="connsiteY3" fmla="*/ 462673 h 4626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7297" h="462673">
                      <a:moveTo>
                        <a:pt x="0" y="0"/>
                      </a:moveTo>
                      <a:lnTo>
                        <a:pt x="67298" y="0"/>
                      </a:lnTo>
                      <a:lnTo>
                        <a:pt x="67298" y="462673"/>
                      </a:lnTo>
                      <a:lnTo>
                        <a:pt x="0" y="462673"/>
                      </a:lnTo>
                      <a:close/>
                    </a:path>
                  </a:pathLst>
                </a:custGeom>
                <a:noFill/>
                <a:ln w="16717" cap="rnd">
                  <a:solidFill>
                    <a:schemeClr val="tx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GB"/>
                </a:p>
              </p:txBody>
            </p:sp>
          </p:grpSp>
          <p:grpSp>
            <p:nvGrpSpPr>
              <p:cNvPr id="1361" name="Graphic 2">
                <a:extLst>
                  <a:ext uri="{FF2B5EF4-FFF2-40B4-BE49-F238E27FC236}">
                    <a16:creationId xmlns:a16="http://schemas.microsoft.com/office/drawing/2014/main" xmlns="" id="{28085D2B-15C7-4289-9949-BFCC8C6AEC01}"/>
                  </a:ext>
                </a:extLst>
              </p:cNvPr>
              <p:cNvGrpSpPr/>
              <p:nvPr/>
            </p:nvGrpSpPr>
            <p:grpSpPr>
              <a:xfrm>
                <a:off x="276000" y="155200"/>
                <a:ext cx="310580" cy="276089"/>
                <a:chOff x="276000" y="155200"/>
                <a:chExt cx="310580" cy="276089"/>
              </a:xfrm>
              <a:noFill/>
            </p:grpSpPr>
            <p:sp>
              <p:nvSpPr>
                <p:cNvPr id="1362" name="Freeform: Shape 220">
                  <a:extLst>
                    <a:ext uri="{FF2B5EF4-FFF2-40B4-BE49-F238E27FC236}">
                      <a16:creationId xmlns:a16="http://schemas.microsoft.com/office/drawing/2014/main" xmlns="" id="{C15A4388-5440-430E-82AB-E340CC08AC30}"/>
                    </a:ext>
                  </a:extLst>
                </p:cNvPr>
                <p:cNvSpPr/>
                <p:nvPr/>
              </p:nvSpPr>
              <p:spPr>
                <a:xfrm>
                  <a:off x="483109" y="155200"/>
                  <a:ext cx="103470" cy="103638"/>
                </a:xfrm>
                <a:custGeom>
                  <a:avLst/>
                  <a:gdLst>
                    <a:gd name="connsiteX0" fmla="*/ 0 w 103470"/>
                    <a:gd name="connsiteY0" fmla="*/ 0 h 103638"/>
                    <a:gd name="connsiteX1" fmla="*/ 103471 w 103470"/>
                    <a:gd name="connsiteY1" fmla="*/ 0 h 103638"/>
                    <a:gd name="connsiteX2" fmla="*/ 103471 w 103470"/>
                    <a:gd name="connsiteY2" fmla="*/ 103639 h 1036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03470" h="103638">
                      <a:moveTo>
                        <a:pt x="0" y="0"/>
                      </a:moveTo>
                      <a:lnTo>
                        <a:pt x="103471" y="0"/>
                      </a:lnTo>
                      <a:lnTo>
                        <a:pt x="103471" y="103639"/>
                      </a:lnTo>
                    </a:path>
                  </a:pathLst>
                </a:custGeom>
                <a:noFill/>
                <a:ln w="16717" cap="rnd">
                  <a:solidFill>
                    <a:schemeClr val="tx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GB"/>
                </a:p>
              </p:txBody>
            </p:sp>
            <p:sp>
              <p:nvSpPr>
                <p:cNvPr id="1363" name="Freeform: Shape 221">
                  <a:extLst>
                    <a:ext uri="{FF2B5EF4-FFF2-40B4-BE49-F238E27FC236}">
                      <a16:creationId xmlns:a16="http://schemas.microsoft.com/office/drawing/2014/main" xmlns="" id="{B649E05E-0210-413B-8252-1BCC720E5D82}"/>
                    </a:ext>
                  </a:extLst>
                </p:cNvPr>
                <p:cNvSpPr/>
                <p:nvPr/>
              </p:nvSpPr>
              <p:spPr>
                <a:xfrm>
                  <a:off x="276000" y="155200"/>
                  <a:ext cx="310580" cy="276089"/>
                </a:xfrm>
                <a:custGeom>
                  <a:avLst/>
                  <a:gdLst>
                    <a:gd name="connsiteX0" fmla="*/ 310580 w 310580"/>
                    <a:gd name="connsiteY0" fmla="*/ 0 h 276089"/>
                    <a:gd name="connsiteX1" fmla="*/ 0 w 310580"/>
                    <a:gd name="connsiteY1" fmla="*/ 276090 h 2760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10580" h="276089">
                      <a:moveTo>
                        <a:pt x="310580" y="0"/>
                      </a:moveTo>
                      <a:lnTo>
                        <a:pt x="0" y="276090"/>
                      </a:lnTo>
                    </a:path>
                  </a:pathLst>
                </a:custGeom>
                <a:ln w="16717" cap="rnd">
                  <a:solidFill>
                    <a:schemeClr val="tx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GB"/>
                </a:p>
              </p:txBody>
            </p:sp>
          </p:grpSp>
        </p:grp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xmlns="" id="{8BCA1587-310E-46E8-8D72-C57FF2A6A00F}"/>
              </a:ext>
            </a:extLst>
          </p:cNvPr>
          <p:cNvGrpSpPr/>
          <p:nvPr/>
        </p:nvGrpSpPr>
        <p:grpSpPr>
          <a:xfrm>
            <a:off x="263524" y="1890161"/>
            <a:ext cx="2730292" cy="861774"/>
            <a:chOff x="263524" y="1890161"/>
            <a:chExt cx="2730292" cy="861774"/>
          </a:xfrm>
        </p:grpSpPr>
        <p:grpSp>
          <p:nvGrpSpPr>
            <p:cNvPr id="1343" name="Group 1342">
              <a:extLst>
                <a:ext uri="{FF2B5EF4-FFF2-40B4-BE49-F238E27FC236}">
                  <a16:creationId xmlns:a16="http://schemas.microsoft.com/office/drawing/2014/main" xmlns="" id="{71EC2EFD-6781-4BE2-AF47-F9B5214D8691}"/>
                </a:ext>
              </a:extLst>
            </p:cNvPr>
            <p:cNvGrpSpPr/>
            <p:nvPr/>
          </p:nvGrpSpPr>
          <p:grpSpPr>
            <a:xfrm>
              <a:off x="263524" y="2004164"/>
              <a:ext cx="633768" cy="633768"/>
              <a:chOff x="120710" y="120710"/>
              <a:chExt cx="672979" cy="672979"/>
            </a:xfrm>
          </p:grpSpPr>
          <p:grpSp>
            <p:nvGrpSpPr>
              <p:cNvPr id="1344" name="Group 1343">
                <a:extLst>
                  <a:ext uri="{FF2B5EF4-FFF2-40B4-BE49-F238E27FC236}">
                    <a16:creationId xmlns:a16="http://schemas.microsoft.com/office/drawing/2014/main" xmlns="" id="{C653A9A6-210D-46B9-8171-30258C1030C3}"/>
                  </a:ext>
                </a:extLst>
              </p:cNvPr>
              <p:cNvGrpSpPr/>
              <p:nvPr/>
            </p:nvGrpSpPr>
            <p:grpSpPr>
              <a:xfrm>
                <a:off x="339428" y="238481"/>
                <a:ext cx="235543" cy="311253"/>
                <a:chOff x="339428" y="238481"/>
                <a:chExt cx="235543" cy="311253"/>
              </a:xfrm>
            </p:grpSpPr>
            <p:sp>
              <p:nvSpPr>
                <p:cNvPr id="1353" name="Freeform: Shape 333">
                  <a:extLst>
                    <a:ext uri="{FF2B5EF4-FFF2-40B4-BE49-F238E27FC236}">
                      <a16:creationId xmlns:a16="http://schemas.microsoft.com/office/drawing/2014/main" xmlns="" id="{4A988DD5-E9B5-4BC7-A2D5-EF925AC2C093}"/>
                    </a:ext>
                  </a:extLst>
                </p:cNvPr>
                <p:cNvSpPr/>
                <p:nvPr/>
              </p:nvSpPr>
              <p:spPr>
                <a:xfrm>
                  <a:off x="339428" y="238481"/>
                  <a:ext cx="168" cy="50473"/>
                </a:xfrm>
                <a:custGeom>
                  <a:avLst/>
                  <a:gdLst>
                    <a:gd name="connsiteX0" fmla="*/ 168 w 168"/>
                    <a:gd name="connsiteY0" fmla="*/ 0 h 50473"/>
                    <a:gd name="connsiteX1" fmla="*/ 0 w 168"/>
                    <a:gd name="connsiteY1" fmla="*/ 50473 h 504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68" h="50473">
                      <a:moveTo>
                        <a:pt x="168" y="0"/>
                      </a:moveTo>
                      <a:lnTo>
                        <a:pt x="0" y="50473"/>
                      </a:lnTo>
                    </a:path>
                  </a:pathLst>
                </a:custGeom>
                <a:ln w="16717" cap="rnd">
                  <a:solidFill>
                    <a:schemeClr val="tx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GB" dirty="0">
                    <a:latin typeface="+mj-lt"/>
                  </a:endParaRPr>
                </a:p>
              </p:txBody>
            </p:sp>
            <p:sp>
              <p:nvSpPr>
                <p:cNvPr id="1354" name="Freeform: Shape 334">
                  <a:extLst>
                    <a:ext uri="{FF2B5EF4-FFF2-40B4-BE49-F238E27FC236}">
                      <a16:creationId xmlns:a16="http://schemas.microsoft.com/office/drawing/2014/main" xmlns="" id="{5C7FE96A-7C4A-4566-A0D6-803778E3D4DD}"/>
                    </a:ext>
                  </a:extLst>
                </p:cNvPr>
                <p:cNvSpPr/>
                <p:nvPr/>
              </p:nvSpPr>
              <p:spPr>
                <a:xfrm>
                  <a:off x="457031" y="238481"/>
                  <a:ext cx="168" cy="50473"/>
                </a:xfrm>
                <a:custGeom>
                  <a:avLst/>
                  <a:gdLst>
                    <a:gd name="connsiteX0" fmla="*/ 168 w 168"/>
                    <a:gd name="connsiteY0" fmla="*/ 0 h 50473"/>
                    <a:gd name="connsiteX1" fmla="*/ 0 w 168"/>
                    <a:gd name="connsiteY1" fmla="*/ 50473 h 504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68" h="50473">
                      <a:moveTo>
                        <a:pt x="168" y="0"/>
                      </a:moveTo>
                      <a:lnTo>
                        <a:pt x="0" y="50473"/>
                      </a:lnTo>
                    </a:path>
                  </a:pathLst>
                </a:custGeom>
                <a:ln w="16717" cap="rnd">
                  <a:solidFill>
                    <a:schemeClr val="tx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GB" dirty="0">
                    <a:latin typeface="+mj-lt"/>
                  </a:endParaRPr>
                </a:p>
              </p:txBody>
            </p:sp>
            <p:sp>
              <p:nvSpPr>
                <p:cNvPr id="1355" name="Freeform: Shape 335">
                  <a:extLst>
                    <a:ext uri="{FF2B5EF4-FFF2-40B4-BE49-F238E27FC236}">
                      <a16:creationId xmlns:a16="http://schemas.microsoft.com/office/drawing/2014/main" xmlns="" id="{059D239C-5D60-469D-9156-5EFB25ED3748}"/>
                    </a:ext>
                  </a:extLst>
                </p:cNvPr>
                <p:cNvSpPr/>
                <p:nvPr/>
              </p:nvSpPr>
              <p:spPr>
                <a:xfrm>
                  <a:off x="574803" y="238481"/>
                  <a:ext cx="168" cy="50473"/>
                </a:xfrm>
                <a:custGeom>
                  <a:avLst/>
                  <a:gdLst>
                    <a:gd name="connsiteX0" fmla="*/ 168 w 168"/>
                    <a:gd name="connsiteY0" fmla="*/ 0 h 50473"/>
                    <a:gd name="connsiteX1" fmla="*/ 0 w 168"/>
                    <a:gd name="connsiteY1" fmla="*/ 50473 h 504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68" h="50473">
                      <a:moveTo>
                        <a:pt x="168" y="0"/>
                      </a:moveTo>
                      <a:lnTo>
                        <a:pt x="0" y="50473"/>
                      </a:lnTo>
                    </a:path>
                  </a:pathLst>
                </a:custGeom>
                <a:ln w="16717" cap="rnd">
                  <a:solidFill>
                    <a:schemeClr val="tx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GB" dirty="0">
                    <a:latin typeface="+mj-lt"/>
                  </a:endParaRPr>
                </a:p>
              </p:txBody>
            </p:sp>
            <p:sp>
              <p:nvSpPr>
                <p:cNvPr id="1356" name="Freeform: Shape 336">
                  <a:extLst>
                    <a:ext uri="{FF2B5EF4-FFF2-40B4-BE49-F238E27FC236}">
                      <a16:creationId xmlns:a16="http://schemas.microsoft.com/office/drawing/2014/main" xmlns="" id="{40A610E2-C5EC-46FC-8E7A-082E555B8B4E}"/>
                    </a:ext>
                  </a:extLst>
                </p:cNvPr>
                <p:cNvSpPr/>
                <p:nvPr/>
              </p:nvSpPr>
              <p:spPr>
                <a:xfrm>
                  <a:off x="339428" y="389902"/>
                  <a:ext cx="168" cy="159832"/>
                </a:xfrm>
                <a:custGeom>
                  <a:avLst/>
                  <a:gdLst>
                    <a:gd name="connsiteX0" fmla="*/ 168 w 168"/>
                    <a:gd name="connsiteY0" fmla="*/ 0 h 159832"/>
                    <a:gd name="connsiteX1" fmla="*/ 0 w 168"/>
                    <a:gd name="connsiteY1" fmla="*/ 159833 h 1598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68" h="159832">
                      <a:moveTo>
                        <a:pt x="168" y="0"/>
                      </a:moveTo>
                      <a:lnTo>
                        <a:pt x="0" y="159833"/>
                      </a:lnTo>
                    </a:path>
                  </a:pathLst>
                </a:custGeom>
                <a:ln w="16717" cap="rnd">
                  <a:solidFill>
                    <a:schemeClr val="tx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GB" dirty="0">
                    <a:latin typeface="+mj-lt"/>
                  </a:endParaRPr>
                </a:p>
              </p:txBody>
            </p:sp>
            <p:sp>
              <p:nvSpPr>
                <p:cNvPr id="1357" name="Freeform: Shape 337">
                  <a:extLst>
                    <a:ext uri="{FF2B5EF4-FFF2-40B4-BE49-F238E27FC236}">
                      <a16:creationId xmlns:a16="http://schemas.microsoft.com/office/drawing/2014/main" xmlns="" id="{9EB856C1-6282-40A6-BE29-4BA692B909CF}"/>
                    </a:ext>
                  </a:extLst>
                </p:cNvPr>
                <p:cNvSpPr/>
                <p:nvPr/>
              </p:nvSpPr>
              <p:spPr>
                <a:xfrm>
                  <a:off x="457031" y="389902"/>
                  <a:ext cx="168" cy="159832"/>
                </a:xfrm>
                <a:custGeom>
                  <a:avLst/>
                  <a:gdLst>
                    <a:gd name="connsiteX0" fmla="*/ 168 w 168"/>
                    <a:gd name="connsiteY0" fmla="*/ 0 h 159832"/>
                    <a:gd name="connsiteX1" fmla="*/ 0 w 168"/>
                    <a:gd name="connsiteY1" fmla="*/ 159833 h 1598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68" h="159832">
                      <a:moveTo>
                        <a:pt x="168" y="0"/>
                      </a:moveTo>
                      <a:lnTo>
                        <a:pt x="0" y="159833"/>
                      </a:lnTo>
                    </a:path>
                  </a:pathLst>
                </a:custGeom>
                <a:ln w="16717" cap="rnd">
                  <a:solidFill>
                    <a:schemeClr val="tx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GB" dirty="0">
                    <a:latin typeface="+mj-lt"/>
                  </a:endParaRPr>
                </a:p>
              </p:txBody>
            </p:sp>
            <p:sp>
              <p:nvSpPr>
                <p:cNvPr id="1358" name="Freeform: Shape 338">
                  <a:extLst>
                    <a:ext uri="{FF2B5EF4-FFF2-40B4-BE49-F238E27FC236}">
                      <a16:creationId xmlns:a16="http://schemas.microsoft.com/office/drawing/2014/main" xmlns="" id="{EA17559F-3889-4FD8-B61D-BAA70803E4A7}"/>
                    </a:ext>
                  </a:extLst>
                </p:cNvPr>
                <p:cNvSpPr/>
                <p:nvPr/>
              </p:nvSpPr>
              <p:spPr>
                <a:xfrm>
                  <a:off x="574803" y="389902"/>
                  <a:ext cx="168" cy="159832"/>
                </a:xfrm>
                <a:custGeom>
                  <a:avLst/>
                  <a:gdLst>
                    <a:gd name="connsiteX0" fmla="*/ 168 w 168"/>
                    <a:gd name="connsiteY0" fmla="*/ 0 h 159832"/>
                    <a:gd name="connsiteX1" fmla="*/ 0 w 168"/>
                    <a:gd name="connsiteY1" fmla="*/ 159833 h 1598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68" h="159832">
                      <a:moveTo>
                        <a:pt x="168" y="0"/>
                      </a:moveTo>
                      <a:lnTo>
                        <a:pt x="0" y="159833"/>
                      </a:lnTo>
                    </a:path>
                  </a:pathLst>
                </a:custGeom>
                <a:ln w="16717" cap="rnd">
                  <a:solidFill>
                    <a:schemeClr val="tx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GB" dirty="0">
                    <a:latin typeface="+mj-lt"/>
                  </a:endParaRPr>
                </a:p>
              </p:txBody>
            </p:sp>
          </p:grpSp>
          <p:grpSp>
            <p:nvGrpSpPr>
              <p:cNvPr id="1345" name="Group 1344">
                <a:extLst>
                  <a:ext uri="{FF2B5EF4-FFF2-40B4-BE49-F238E27FC236}">
                    <a16:creationId xmlns:a16="http://schemas.microsoft.com/office/drawing/2014/main" xmlns="" id="{EE31A4D1-BAEE-424D-8B40-CB3F1E854CB0}"/>
                  </a:ext>
                </a:extLst>
              </p:cNvPr>
              <p:cNvGrpSpPr/>
              <p:nvPr/>
            </p:nvGrpSpPr>
            <p:grpSpPr>
              <a:xfrm>
                <a:off x="120710" y="120710"/>
                <a:ext cx="672979" cy="672979"/>
                <a:chOff x="120710" y="120710"/>
                <a:chExt cx="672979" cy="672979"/>
              </a:xfrm>
            </p:grpSpPr>
            <p:sp>
              <p:nvSpPr>
                <p:cNvPr id="1346" name="Freeform: Shape 340">
                  <a:extLst>
                    <a:ext uri="{FF2B5EF4-FFF2-40B4-BE49-F238E27FC236}">
                      <a16:creationId xmlns:a16="http://schemas.microsoft.com/office/drawing/2014/main" xmlns="" id="{76937E48-26DE-4D46-B0FE-6786B0B04DFF}"/>
                    </a:ext>
                  </a:extLst>
                </p:cNvPr>
                <p:cNvSpPr/>
                <p:nvPr/>
              </p:nvSpPr>
              <p:spPr>
                <a:xfrm>
                  <a:off x="171183" y="171183"/>
                  <a:ext cx="572032" cy="622506"/>
                </a:xfrm>
                <a:custGeom>
                  <a:avLst/>
                  <a:gdLst>
                    <a:gd name="connsiteX0" fmla="*/ 0 w 572032"/>
                    <a:gd name="connsiteY0" fmla="*/ 622506 h 622506"/>
                    <a:gd name="connsiteX1" fmla="*/ 0 w 572032"/>
                    <a:gd name="connsiteY1" fmla="*/ 0 h 622506"/>
                    <a:gd name="connsiteX2" fmla="*/ 572033 w 572032"/>
                    <a:gd name="connsiteY2" fmla="*/ 0 h 622506"/>
                    <a:gd name="connsiteX3" fmla="*/ 572033 w 572032"/>
                    <a:gd name="connsiteY3" fmla="*/ 622506 h 6225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72032" h="622506">
                      <a:moveTo>
                        <a:pt x="0" y="622506"/>
                      </a:moveTo>
                      <a:lnTo>
                        <a:pt x="0" y="0"/>
                      </a:lnTo>
                      <a:lnTo>
                        <a:pt x="572033" y="0"/>
                      </a:lnTo>
                      <a:lnTo>
                        <a:pt x="572033" y="622506"/>
                      </a:lnTo>
                    </a:path>
                  </a:pathLst>
                </a:custGeom>
                <a:noFill/>
                <a:ln w="16717" cap="rnd">
                  <a:solidFill>
                    <a:schemeClr val="tx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GB" dirty="0">
                    <a:latin typeface="+mj-lt"/>
                  </a:endParaRPr>
                </a:p>
              </p:txBody>
            </p:sp>
            <p:sp>
              <p:nvSpPr>
                <p:cNvPr id="1347" name="Freeform: Shape 341">
                  <a:extLst>
                    <a:ext uri="{FF2B5EF4-FFF2-40B4-BE49-F238E27FC236}">
                      <a16:creationId xmlns:a16="http://schemas.microsoft.com/office/drawing/2014/main" xmlns="" id="{F0872322-BE88-40FC-A5FF-C7A27249E2C4}"/>
                    </a:ext>
                  </a:extLst>
                </p:cNvPr>
                <p:cNvSpPr/>
                <p:nvPr/>
              </p:nvSpPr>
              <p:spPr>
                <a:xfrm>
                  <a:off x="272130" y="171183"/>
                  <a:ext cx="370138" cy="67297"/>
                </a:xfrm>
                <a:custGeom>
                  <a:avLst/>
                  <a:gdLst>
                    <a:gd name="connsiteX0" fmla="*/ 0 w 370138"/>
                    <a:gd name="connsiteY0" fmla="*/ 0 h 67297"/>
                    <a:gd name="connsiteX1" fmla="*/ 0 w 370138"/>
                    <a:gd name="connsiteY1" fmla="*/ 67298 h 67297"/>
                    <a:gd name="connsiteX2" fmla="*/ 370139 w 370138"/>
                    <a:gd name="connsiteY2" fmla="*/ 67298 h 67297"/>
                    <a:gd name="connsiteX3" fmla="*/ 370139 w 370138"/>
                    <a:gd name="connsiteY3" fmla="*/ 0 h 672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70138" h="67297">
                      <a:moveTo>
                        <a:pt x="0" y="0"/>
                      </a:moveTo>
                      <a:lnTo>
                        <a:pt x="0" y="67298"/>
                      </a:lnTo>
                      <a:lnTo>
                        <a:pt x="370139" y="67298"/>
                      </a:lnTo>
                      <a:lnTo>
                        <a:pt x="370139" y="0"/>
                      </a:lnTo>
                    </a:path>
                  </a:pathLst>
                </a:custGeom>
                <a:noFill/>
                <a:ln w="16717" cap="rnd">
                  <a:solidFill>
                    <a:schemeClr val="tx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GB" dirty="0">
                    <a:latin typeface="+mj-lt"/>
                  </a:endParaRPr>
                </a:p>
              </p:txBody>
            </p:sp>
            <p:sp>
              <p:nvSpPr>
                <p:cNvPr id="1348" name="Freeform: Shape 342">
                  <a:extLst>
                    <a:ext uri="{FF2B5EF4-FFF2-40B4-BE49-F238E27FC236}">
                      <a16:creationId xmlns:a16="http://schemas.microsoft.com/office/drawing/2014/main" xmlns="" id="{BDDCEC1A-1D31-4F07-AA39-341037CA948F}"/>
                    </a:ext>
                  </a:extLst>
                </p:cNvPr>
                <p:cNvSpPr/>
                <p:nvPr/>
              </p:nvSpPr>
              <p:spPr>
                <a:xfrm>
                  <a:off x="288955" y="608620"/>
                  <a:ext cx="336489" cy="185069"/>
                </a:xfrm>
                <a:custGeom>
                  <a:avLst/>
                  <a:gdLst>
                    <a:gd name="connsiteX0" fmla="*/ 0 w 336489"/>
                    <a:gd name="connsiteY0" fmla="*/ 0 h 185069"/>
                    <a:gd name="connsiteX1" fmla="*/ 336490 w 336489"/>
                    <a:gd name="connsiteY1" fmla="*/ 0 h 185069"/>
                    <a:gd name="connsiteX2" fmla="*/ 336490 w 336489"/>
                    <a:gd name="connsiteY2" fmla="*/ 185069 h 185069"/>
                    <a:gd name="connsiteX3" fmla="*/ 0 w 336489"/>
                    <a:gd name="connsiteY3" fmla="*/ 185069 h 1850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36489" h="185069">
                      <a:moveTo>
                        <a:pt x="0" y="0"/>
                      </a:moveTo>
                      <a:lnTo>
                        <a:pt x="336490" y="0"/>
                      </a:lnTo>
                      <a:lnTo>
                        <a:pt x="336490" y="185069"/>
                      </a:lnTo>
                      <a:lnTo>
                        <a:pt x="0" y="185069"/>
                      </a:lnTo>
                      <a:close/>
                    </a:path>
                  </a:pathLst>
                </a:custGeom>
                <a:noFill/>
                <a:ln w="16717" cap="rnd">
                  <a:solidFill>
                    <a:schemeClr val="tx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GB" dirty="0">
                    <a:latin typeface="+mj-lt"/>
                  </a:endParaRPr>
                </a:p>
              </p:txBody>
            </p:sp>
            <p:sp>
              <p:nvSpPr>
                <p:cNvPr id="1349" name="Freeform: Shape 343">
                  <a:extLst>
                    <a:ext uri="{FF2B5EF4-FFF2-40B4-BE49-F238E27FC236}">
                      <a16:creationId xmlns:a16="http://schemas.microsoft.com/office/drawing/2014/main" xmlns="" id="{5DE3BDAD-5641-49AC-943C-CF5A775223DA}"/>
                    </a:ext>
                  </a:extLst>
                </p:cNvPr>
                <p:cNvSpPr/>
                <p:nvPr/>
              </p:nvSpPr>
              <p:spPr>
                <a:xfrm>
                  <a:off x="305779" y="558146"/>
                  <a:ext cx="67297" cy="50473"/>
                </a:xfrm>
                <a:custGeom>
                  <a:avLst/>
                  <a:gdLst>
                    <a:gd name="connsiteX0" fmla="*/ 0 w 67297"/>
                    <a:gd name="connsiteY0" fmla="*/ 0 h 50473"/>
                    <a:gd name="connsiteX1" fmla="*/ 67298 w 67297"/>
                    <a:gd name="connsiteY1" fmla="*/ 0 h 50473"/>
                    <a:gd name="connsiteX2" fmla="*/ 67298 w 67297"/>
                    <a:gd name="connsiteY2" fmla="*/ 50473 h 50473"/>
                    <a:gd name="connsiteX3" fmla="*/ 0 w 67297"/>
                    <a:gd name="connsiteY3" fmla="*/ 50473 h 504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7297" h="50473">
                      <a:moveTo>
                        <a:pt x="0" y="0"/>
                      </a:moveTo>
                      <a:lnTo>
                        <a:pt x="67298" y="0"/>
                      </a:lnTo>
                      <a:lnTo>
                        <a:pt x="67298" y="50473"/>
                      </a:lnTo>
                      <a:lnTo>
                        <a:pt x="0" y="50473"/>
                      </a:lnTo>
                      <a:close/>
                    </a:path>
                  </a:pathLst>
                </a:custGeom>
                <a:noFill/>
                <a:ln w="16717" cap="rnd">
                  <a:solidFill>
                    <a:schemeClr val="tx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GB" dirty="0">
                    <a:latin typeface="+mj-lt"/>
                  </a:endParaRPr>
                </a:p>
              </p:txBody>
            </p:sp>
            <p:sp>
              <p:nvSpPr>
                <p:cNvPr id="1350" name="Freeform: Shape 344">
                  <a:extLst>
                    <a:ext uri="{FF2B5EF4-FFF2-40B4-BE49-F238E27FC236}">
                      <a16:creationId xmlns:a16="http://schemas.microsoft.com/office/drawing/2014/main" xmlns="" id="{2EF09A95-97EA-4887-AD87-8E5B4DD7125E}"/>
                    </a:ext>
                  </a:extLst>
                </p:cNvPr>
                <p:cNvSpPr/>
                <p:nvPr/>
              </p:nvSpPr>
              <p:spPr>
                <a:xfrm>
                  <a:off x="423551" y="558146"/>
                  <a:ext cx="67297" cy="50473"/>
                </a:xfrm>
                <a:custGeom>
                  <a:avLst/>
                  <a:gdLst>
                    <a:gd name="connsiteX0" fmla="*/ 0 w 67297"/>
                    <a:gd name="connsiteY0" fmla="*/ 0 h 50473"/>
                    <a:gd name="connsiteX1" fmla="*/ 67298 w 67297"/>
                    <a:gd name="connsiteY1" fmla="*/ 0 h 50473"/>
                    <a:gd name="connsiteX2" fmla="*/ 67298 w 67297"/>
                    <a:gd name="connsiteY2" fmla="*/ 50473 h 50473"/>
                    <a:gd name="connsiteX3" fmla="*/ 0 w 67297"/>
                    <a:gd name="connsiteY3" fmla="*/ 50473 h 504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7297" h="50473">
                      <a:moveTo>
                        <a:pt x="0" y="0"/>
                      </a:moveTo>
                      <a:lnTo>
                        <a:pt x="67298" y="0"/>
                      </a:lnTo>
                      <a:lnTo>
                        <a:pt x="67298" y="50473"/>
                      </a:lnTo>
                      <a:lnTo>
                        <a:pt x="0" y="50473"/>
                      </a:lnTo>
                      <a:close/>
                    </a:path>
                  </a:pathLst>
                </a:custGeom>
                <a:noFill/>
                <a:ln w="16717" cap="rnd">
                  <a:solidFill>
                    <a:schemeClr val="tx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GB" dirty="0">
                    <a:latin typeface="+mj-lt"/>
                  </a:endParaRPr>
                </a:p>
              </p:txBody>
            </p:sp>
            <p:sp>
              <p:nvSpPr>
                <p:cNvPr id="1351" name="Freeform: Shape 345">
                  <a:extLst>
                    <a:ext uri="{FF2B5EF4-FFF2-40B4-BE49-F238E27FC236}">
                      <a16:creationId xmlns:a16="http://schemas.microsoft.com/office/drawing/2014/main" xmlns="" id="{0280F78D-4396-444E-9D67-CB39D71E6420}"/>
                    </a:ext>
                  </a:extLst>
                </p:cNvPr>
                <p:cNvSpPr/>
                <p:nvPr/>
              </p:nvSpPr>
              <p:spPr>
                <a:xfrm>
                  <a:off x="541322" y="558146"/>
                  <a:ext cx="67297" cy="50473"/>
                </a:xfrm>
                <a:custGeom>
                  <a:avLst/>
                  <a:gdLst>
                    <a:gd name="connsiteX0" fmla="*/ 0 w 67297"/>
                    <a:gd name="connsiteY0" fmla="*/ 0 h 50473"/>
                    <a:gd name="connsiteX1" fmla="*/ 67298 w 67297"/>
                    <a:gd name="connsiteY1" fmla="*/ 0 h 50473"/>
                    <a:gd name="connsiteX2" fmla="*/ 67298 w 67297"/>
                    <a:gd name="connsiteY2" fmla="*/ 50473 h 50473"/>
                    <a:gd name="connsiteX3" fmla="*/ 0 w 67297"/>
                    <a:gd name="connsiteY3" fmla="*/ 50473 h 504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7297" h="50473">
                      <a:moveTo>
                        <a:pt x="0" y="0"/>
                      </a:moveTo>
                      <a:lnTo>
                        <a:pt x="67298" y="0"/>
                      </a:lnTo>
                      <a:lnTo>
                        <a:pt x="67298" y="50473"/>
                      </a:lnTo>
                      <a:lnTo>
                        <a:pt x="0" y="50473"/>
                      </a:lnTo>
                      <a:close/>
                    </a:path>
                  </a:pathLst>
                </a:custGeom>
                <a:noFill/>
                <a:ln w="16717" cap="rnd">
                  <a:solidFill>
                    <a:schemeClr val="tx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GB" dirty="0">
                    <a:latin typeface="+mj-lt"/>
                  </a:endParaRPr>
                </a:p>
              </p:txBody>
            </p:sp>
            <p:sp>
              <p:nvSpPr>
                <p:cNvPr id="1352" name="Freeform: Shape 346">
                  <a:extLst>
                    <a:ext uri="{FF2B5EF4-FFF2-40B4-BE49-F238E27FC236}">
                      <a16:creationId xmlns:a16="http://schemas.microsoft.com/office/drawing/2014/main" xmlns="" id="{A805D5C1-8B0A-4341-85D6-4591BC665471}"/>
                    </a:ext>
                  </a:extLst>
                </p:cNvPr>
                <p:cNvSpPr/>
                <p:nvPr/>
              </p:nvSpPr>
              <p:spPr>
                <a:xfrm>
                  <a:off x="120710" y="120710"/>
                  <a:ext cx="672979" cy="672979"/>
                </a:xfrm>
                <a:custGeom>
                  <a:avLst/>
                  <a:gdLst>
                    <a:gd name="connsiteX0" fmla="*/ 672980 w 672979"/>
                    <a:gd name="connsiteY0" fmla="*/ 672980 h 672979"/>
                    <a:gd name="connsiteX1" fmla="*/ 0 w 672979"/>
                    <a:gd name="connsiteY1" fmla="*/ 672980 h 672979"/>
                    <a:gd name="connsiteX2" fmla="*/ 0 w 672979"/>
                    <a:gd name="connsiteY2" fmla="*/ 0 h 672979"/>
                    <a:gd name="connsiteX3" fmla="*/ 672980 w 672979"/>
                    <a:gd name="connsiteY3" fmla="*/ 0 h 672979"/>
                    <a:gd name="connsiteX4" fmla="*/ 672980 w 672979"/>
                    <a:gd name="connsiteY4" fmla="*/ 672980 h 6729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72979" h="672979">
                      <a:moveTo>
                        <a:pt x="672980" y="672980"/>
                      </a:moveTo>
                      <a:lnTo>
                        <a:pt x="0" y="672980"/>
                      </a:lnTo>
                      <a:lnTo>
                        <a:pt x="0" y="0"/>
                      </a:lnTo>
                      <a:lnTo>
                        <a:pt x="672980" y="0"/>
                      </a:lnTo>
                      <a:lnTo>
                        <a:pt x="672980" y="672980"/>
                      </a:lnTo>
                    </a:path>
                  </a:pathLst>
                </a:custGeom>
                <a:noFill/>
                <a:ln w="16717" cap="rnd">
                  <a:solidFill>
                    <a:schemeClr val="tx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GB" dirty="0">
                    <a:latin typeface="+mj-lt"/>
                  </a:endParaRPr>
                </a:p>
              </p:txBody>
            </p:sp>
          </p:grpSp>
        </p:grpSp>
        <p:sp>
          <p:nvSpPr>
            <p:cNvPr id="1369" name="Text Placeholder 3">
              <a:extLst>
                <a:ext uri="{FF2B5EF4-FFF2-40B4-BE49-F238E27FC236}">
                  <a16:creationId xmlns:a16="http://schemas.microsoft.com/office/drawing/2014/main" xmlns="" id="{262533A1-0E0A-E44D-90F0-BEAE700C4BB4}"/>
                </a:ext>
              </a:extLst>
            </p:cNvPr>
            <p:cNvSpPr txBox="1">
              <a:spLocks/>
            </p:cNvSpPr>
            <p:nvPr/>
          </p:nvSpPr>
          <p:spPr>
            <a:xfrm>
              <a:off x="967999" y="1890161"/>
              <a:ext cx="2025817" cy="861774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indent="0" algn="ctr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1000" b="0" i="0">
                  <a:latin typeface="ABBvoice" charset="0"/>
                  <a:ea typeface="ABBvoice" charset="0"/>
                  <a:cs typeface="ABBvoice" charset="0"/>
                </a:defRPr>
              </a:lvl1pPr>
              <a:lvl2pPr indent="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000" b="0" i="0">
                  <a:latin typeface="ABBvoice" charset="0"/>
                  <a:ea typeface="ABBvoice" charset="0"/>
                  <a:cs typeface="ABBvoice" charset="0"/>
                </a:defRPr>
              </a:lvl2pPr>
              <a:lvl3pPr indent="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b="1"/>
              </a:lvl3pPr>
              <a:lvl4pPr indent="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400"/>
              </a:lvl4pPr>
              <a:lvl5pPr indent="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100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>
                <a:lnSpc>
                  <a:spcPct val="100000"/>
                </a:lnSpc>
                <a:spcBef>
                  <a:spcPts val="0"/>
                </a:spcBef>
              </a:pPr>
              <a:r>
                <a:rPr lang="en-US" sz="2800" b="1" dirty="0">
                  <a:solidFill>
                    <a:schemeClr val="tx2"/>
                  </a:solidFill>
                  <a:latin typeface="+mj-lt"/>
                  <a:cs typeface="Arial" panose="020B0604020202020204" pitchFamily="34" charset="0"/>
                </a:rPr>
                <a:t>~300 GW</a:t>
              </a:r>
            </a:p>
            <a:p>
              <a:pPr>
                <a:lnSpc>
                  <a:spcPct val="100000"/>
                </a:lnSpc>
                <a:spcBef>
                  <a:spcPts val="0"/>
                </a:spcBef>
              </a:pPr>
              <a:r>
                <a:rPr lang="en-US" sz="1400" dirty="0">
                  <a:latin typeface="+mj-lt"/>
                  <a:cs typeface="Arial" panose="020B0604020202020204" pitchFamily="34" charset="0"/>
                </a:rPr>
                <a:t>Operating world</a:t>
              </a:r>
              <a:br>
                <a:rPr lang="en-US" sz="1400" dirty="0">
                  <a:latin typeface="+mj-lt"/>
                  <a:cs typeface="Arial" panose="020B0604020202020204" pitchFamily="34" charset="0"/>
                </a:rPr>
              </a:br>
              <a:r>
                <a:rPr lang="en-US" sz="1400" dirty="0">
                  <a:latin typeface="+mj-lt"/>
                  <a:cs typeface="Arial" panose="020B0604020202020204" pitchFamily="34" charset="0"/>
                </a:rPr>
                <a:t>Installed base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xmlns="" id="{B664DD45-E8A1-49F9-AB63-BB27B450771F}"/>
              </a:ext>
            </a:extLst>
          </p:cNvPr>
          <p:cNvGrpSpPr/>
          <p:nvPr/>
        </p:nvGrpSpPr>
        <p:grpSpPr>
          <a:xfrm>
            <a:off x="393120" y="4793849"/>
            <a:ext cx="2632126" cy="1077218"/>
            <a:chOff x="393120" y="4793849"/>
            <a:chExt cx="2632126" cy="1077218"/>
          </a:xfrm>
        </p:grpSpPr>
        <p:sp>
          <p:nvSpPr>
            <p:cNvPr id="1386" name="Text Placeholder 3">
              <a:extLst>
                <a:ext uri="{FF2B5EF4-FFF2-40B4-BE49-F238E27FC236}">
                  <a16:creationId xmlns:a16="http://schemas.microsoft.com/office/drawing/2014/main" xmlns="" id="{262533A1-0E0A-E44D-90F0-BEAE700C4BB4}"/>
                </a:ext>
              </a:extLst>
            </p:cNvPr>
            <p:cNvSpPr txBox="1">
              <a:spLocks/>
            </p:cNvSpPr>
            <p:nvPr/>
          </p:nvSpPr>
          <p:spPr>
            <a:xfrm>
              <a:off x="999429" y="4793849"/>
              <a:ext cx="2025817" cy="1077218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indent="0" algn="ctr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1000" b="0" i="0">
                  <a:latin typeface="ABBvoice" charset="0"/>
                  <a:ea typeface="ABBvoice" charset="0"/>
                  <a:cs typeface="ABBvoice" charset="0"/>
                </a:defRPr>
              </a:lvl1pPr>
              <a:lvl2pPr indent="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000" b="0" i="0">
                  <a:latin typeface="ABBvoice" charset="0"/>
                  <a:ea typeface="ABBvoice" charset="0"/>
                  <a:cs typeface="ABBvoice" charset="0"/>
                </a:defRPr>
              </a:lvl2pPr>
              <a:lvl3pPr indent="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b="1"/>
              </a:lvl3pPr>
              <a:lvl4pPr indent="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400"/>
              </a:lvl4pPr>
              <a:lvl5pPr indent="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100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>
                <a:lnSpc>
                  <a:spcPct val="100000"/>
                </a:lnSpc>
                <a:spcBef>
                  <a:spcPts val="0"/>
                </a:spcBef>
              </a:pPr>
              <a:r>
                <a:rPr lang="en-US" sz="2800" b="1" dirty="0">
                  <a:solidFill>
                    <a:schemeClr val="tx2"/>
                  </a:solidFill>
                  <a:latin typeface="+mj-lt"/>
                  <a:cs typeface="Arial" panose="020B0604020202020204" pitchFamily="34" charset="0"/>
                </a:rPr>
                <a:t>&gt;50%</a:t>
              </a:r>
            </a:p>
            <a:p>
              <a:pPr>
                <a:lnSpc>
                  <a:spcPct val="100000"/>
                </a:lnSpc>
                <a:spcBef>
                  <a:spcPts val="0"/>
                </a:spcBef>
              </a:pPr>
              <a:r>
                <a:rPr lang="en-US" sz="1400" dirty="0">
                  <a:latin typeface="+mj-lt"/>
                  <a:cs typeface="Arial" panose="020B0604020202020204" pitchFamily="34" charset="0"/>
                </a:rPr>
                <a:t>World installed base equipped with </a:t>
              </a:r>
              <a:br>
                <a:rPr lang="en-US" sz="1400" dirty="0">
                  <a:latin typeface="+mj-lt"/>
                  <a:cs typeface="Arial" panose="020B0604020202020204" pitchFamily="34" charset="0"/>
                </a:rPr>
              </a:br>
              <a:r>
                <a:rPr lang="en-US" sz="1400" dirty="0">
                  <a:latin typeface="+mj-lt"/>
                  <a:cs typeface="Arial" panose="020B0604020202020204" pitchFamily="34" charset="0"/>
                </a:rPr>
                <a:t>Hitachi Energy</a:t>
              </a:r>
            </a:p>
          </p:txBody>
        </p:sp>
        <p:grpSp>
          <p:nvGrpSpPr>
            <p:cNvPr id="1387" name="Group 1386">
              <a:extLst>
                <a:ext uri="{FF2B5EF4-FFF2-40B4-BE49-F238E27FC236}">
                  <a16:creationId xmlns:a16="http://schemas.microsoft.com/office/drawing/2014/main" xmlns="" id="{734714D9-D147-47CA-A655-B762E868F7BD}"/>
                </a:ext>
              </a:extLst>
            </p:cNvPr>
            <p:cNvGrpSpPr/>
            <p:nvPr/>
          </p:nvGrpSpPr>
          <p:grpSpPr>
            <a:xfrm>
              <a:off x="393120" y="4888247"/>
              <a:ext cx="437437" cy="672979"/>
              <a:chOff x="238481" y="120710"/>
              <a:chExt cx="437437" cy="672979"/>
            </a:xfrm>
          </p:grpSpPr>
          <p:grpSp>
            <p:nvGrpSpPr>
              <p:cNvPr id="1388" name="Group 1387">
                <a:extLst>
                  <a:ext uri="{FF2B5EF4-FFF2-40B4-BE49-F238E27FC236}">
                    <a16:creationId xmlns:a16="http://schemas.microsoft.com/office/drawing/2014/main" xmlns="" id="{A50E7828-F998-447E-81BD-CAE3CD757865}"/>
                  </a:ext>
                </a:extLst>
              </p:cNvPr>
              <p:cNvGrpSpPr/>
              <p:nvPr/>
            </p:nvGrpSpPr>
            <p:grpSpPr>
              <a:xfrm>
                <a:off x="238481" y="389902"/>
                <a:ext cx="437437" cy="403787"/>
                <a:chOff x="238481" y="389902"/>
                <a:chExt cx="437437" cy="403787"/>
              </a:xfrm>
            </p:grpSpPr>
            <p:sp>
              <p:nvSpPr>
                <p:cNvPr id="1390" name="Freeform: Shape 184">
                  <a:extLst>
                    <a:ext uri="{FF2B5EF4-FFF2-40B4-BE49-F238E27FC236}">
                      <a16:creationId xmlns:a16="http://schemas.microsoft.com/office/drawing/2014/main" xmlns="" id="{7F74760D-FDBF-48F9-8C90-DF1CA77E0CE2}"/>
                    </a:ext>
                  </a:extLst>
                </p:cNvPr>
                <p:cNvSpPr/>
                <p:nvPr/>
              </p:nvSpPr>
              <p:spPr>
                <a:xfrm>
                  <a:off x="238481" y="406726"/>
                  <a:ext cx="370138" cy="386963"/>
                </a:xfrm>
                <a:custGeom>
                  <a:avLst/>
                  <a:gdLst>
                    <a:gd name="connsiteX0" fmla="*/ 33649 w 370138"/>
                    <a:gd name="connsiteY0" fmla="*/ 0 h 386963"/>
                    <a:gd name="connsiteX1" fmla="*/ 0 w 370138"/>
                    <a:gd name="connsiteY1" fmla="*/ 50473 h 386963"/>
                    <a:gd name="connsiteX2" fmla="*/ 33649 w 370138"/>
                    <a:gd name="connsiteY2" fmla="*/ 100947 h 386963"/>
                    <a:gd name="connsiteX3" fmla="*/ 0 w 370138"/>
                    <a:gd name="connsiteY3" fmla="*/ 151420 h 386963"/>
                    <a:gd name="connsiteX4" fmla="*/ 33649 w 370138"/>
                    <a:gd name="connsiteY4" fmla="*/ 201894 h 386963"/>
                    <a:gd name="connsiteX5" fmla="*/ 0 w 370138"/>
                    <a:gd name="connsiteY5" fmla="*/ 252367 h 386963"/>
                    <a:gd name="connsiteX6" fmla="*/ 33649 w 370138"/>
                    <a:gd name="connsiteY6" fmla="*/ 302841 h 386963"/>
                    <a:gd name="connsiteX7" fmla="*/ 33649 w 370138"/>
                    <a:gd name="connsiteY7" fmla="*/ 353314 h 386963"/>
                    <a:gd name="connsiteX8" fmla="*/ 100947 w 370138"/>
                    <a:gd name="connsiteY8" fmla="*/ 386963 h 386963"/>
                    <a:gd name="connsiteX9" fmla="*/ 353314 w 370138"/>
                    <a:gd name="connsiteY9" fmla="*/ 386963 h 386963"/>
                    <a:gd name="connsiteX10" fmla="*/ 370139 w 370138"/>
                    <a:gd name="connsiteY10" fmla="*/ 353314 h 386963"/>
                    <a:gd name="connsiteX11" fmla="*/ 353314 w 370138"/>
                    <a:gd name="connsiteY11" fmla="*/ 302841 h 386963"/>
                    <a:gd name="connsiteX12" fmla="*/ 185069 w 370138"/>
                    <a:gd name="connsiteY12" fmla="*/ 302841 h 3869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370138" h="386963">
                      <a:moveTo>
                        <a:pt x="33649" y="0"/>
                      </a:moveTo>
                      <a:cubicBezTo>
                        <a:pt x="33649" y="0"/>
                        <a:pt x="0" y="0"/>
                        <a:pt x="0" y="50473"/>
                      </a:cubicBezTo>
                      <a:cubicBezTo>
                        <a:pt x="0" y="100947"/>
                        <a:pt x="33649" y="100947"/>
                        <a:pt x="33649" y="100947"/>
                      </a:cubicBezTo>
                      <a:cubicBezTo>
                        <a:pt x="33649" y="100947"/>
                        <a:pt x="0" y="100947"/>
                        <a:pt x="0" y="151420"/>
                      </a:cubicBezTo>
                      <a:cubicBezTo>
                        <a:pt x="0" y="201894"/>
                        <a:pt x="33649" y="201894"/>
                        <a:pt x="33649" y="201894"/>
                      </a:cubicBezTo>
                      <a:cubicBezTo>
                        <a:pt x="33649" y="201894"/>
                        <a:pt x="0" y="201894"/>
                        <a:pt x="0" y="252367"/>
                      </a:cubicBezTo>
                      <a:cubicBezTo>
                        <a:pt x="0" y="302841"/>
                        <a:pt x="33649" y="302841"/>
                        <a:pt x="33649" y="302841"/>
                      </a:cubicBezTo>
                      <a:cubicBezTo>
                        <a:pt x="33649" y="302841"/>
                        <a:pt x="33649" y="344902"/>
                        <a:pt x="33649" y="353314"/>
                      </a:cubicBezTo>
                      <a:cubicBezTo>
                        <a:pt x="33649" y="386963"/>
                        <a:pt x="100947" y="386963"/>
                        <a:pt x="100947" y="386963"/>
                      </a:cubicBezTo>
                      <a:lnTo>
                        <a:pt x="353314" y="386963"/>
                      </a:lnTo>
                      <a:cubicBezTo>
                        <a:pt x="353314" y="386963"/>
                        <a:pt x="370139" y="386963"/>
                        <a:pt x="370139" y="353314"/>
                      </a:cubicBezTo>
                      <a:cubicBezTo>
                        <a:pt x="370139" y="302841"/>
                        <a:pt x="353314" y="302841"/>
                        <a:pt x="353314" y="302841"/>
                      </a:cubicBezTo>
                      <a:lnTo>
                        <a:pt x="185069" y="302841"/>
                      </a:lnTo>
                    </a:path>
                  </a:pathLst>
                </a:custGeom>
                <a:noFill/>
                <a:ln w="16717" cap="rnd">
                  <a:solidFill>
                    <a:schemeClr val="tx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GB"/>
                </a:p>
              </p:txBody>
            </p:sp>
            <p:sp>
              <p:nvSpPr>
                <p:cNvPr id="1391" name="Freeform: Shape 185">
                  <a:extLst>
                    <a:ext uri="{FF2B5EF4-FFF2-40B4-BE49-F238E27FC236}">
                      <a16:creationId xmlns:a16="http://schemas.microsoft.com/office/drawing/2014/main" xmlns="" id="{CBD1DC74-5AC2-4C28-AA2F-18F133C8BF88}"/>
                    </a:ext>
                  </a:extLst>
                </p:cNvPr>
                <p:cNvSpPr/>
                <p:nvPr/>
              </p:nvSpPr>
              <p:spPr>
                <a:xfrm>
                  <a:off x="423551" y="608620"/>
                  <a:ext cx="218718" cy="84122"/>
                </a:xfrm>
                <a:custGeom>
                  <a:avLst/>
                  <a:gdLst>
                    <a:gd name="connsiteX0" fmla="*/ 201894 w 218718"/>
                    <a:gd name="connsiteY0" fmla="*/ 84122 h 84122"/>
                    <a:gd name="connsiteX1" fmla="*/ 218718 w 218718"/>
                    <a:gd name="connsiteY1" fmla="*/ 50473 h 84122"/>
                    <a:gd name="connsiteX2" fmla="*/ 201894 w 218718"/>
                    <a:gd name="connsiteY2" fmla="*/ 0 h 84122"/>
                    <a:gd name="connsiteX3" fmla="*/ 0 w 218718"/>
                    <a:gd name="connsiteY3" fmla="*/ 0 h 841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18718" h="84122">
                      <a:moveTo>
                        <a:pt x="201894" y="84122"/>
                      </a:moveTo>
                      <a:cubicBezTo>
                        <a:pt x="201894" y="84122"/>
                        <a:pt x="218718" y="84122"/>
                        <a:pt x="218718" y="50473"/>
                      </a:cubicBezTo>
                      <a:cubicBezTo>
                        <a:pt x="218718" y="0"/>
                        <a:pt x="201894" y="0"/>
                        <a:pt x="201894" y="0"/>
                      </a:cubicBezTo>
                      <a:lnTo>
                        <a:pt x="0" y="0"/>
                      </a:lnTo>
                    </a:path>
                  </a:pathLst>
                </a:custGeom>
                <a:noFill/>
                <a:ln w="16717" cap="rnd">
                  <a:solidFill>
                    <a:schemeClr val="tx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GB"/>
                </a:p>
              </p:txBody>
            </p:sp>
            <p:sp>
              <p:nvSpPr>
                <p:cNvPr id="1392" name="Freeform: Shape 186">
                  <a:extLst>
                    <a:ext uri="{FF2B5EF4-FFF2-40B4-BE49-F238E27FC236}">
                      <a16:creationId xmlns:a16="http://schemas.microsoft.com/office/drawing/2014/main" xmlns="" id="{450162ED-B0DC-442F-A7E6-97CF793012CE}"/>
                    </a:ext>
                  </a:extLst>
                </p:cNvPr>
                <p:cNvSpPr/>
                <p:nvPr/>
              </p:nvSpPr>
              <p:spPr>
                <a:xfrm>
                  <a:off x="423551" y="507673"/>
                  <a:ext cx="252367" cy="84122"/>
                </a:xfrm>
                <a:custGeom>
                  <a:avLst/>
                  <a:gdLst>
                    <a:gd name="connsiteX0" fmla="*/ 235543 w 252367"/>
                    <a:gd name="connsiteY0" fmla="*/ 84122 h 84122"/>
                    <a:gd name="connsiteX1" fmla="*/ 252367 w 252367"/>
                    <a:gd name="connsiteY1" fmla="*/ 50473 h 84122"/>
                    <a:gd name="connsiteX2" fmla="*/ 235543 w 252367"/>
                    <a:gd name="connsiteY2" fmla="*/ 0 h 84122"/>
                    <a:gd name="connsiteX3" fmla="*/ 0 w 252367"/>
                    <a:gd name="connsiteY3" fmla="*/ 0 h 841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52367" h="84122">
                      <a:moveTo>
                        <a:pt x="235543" y="84122"/>
                      </a:moveTo>
                      <a:cubicBezTo>
                        <a:pt x="235543" y="84122"/>
                        <a:pt x="252367" y="84122"/>
                        <a:pt x="252367" y="50473"/>
                      </a:cubicBezTo>
                      <a:cubicBezTo>
                        <a:pt x="252367" y="0"/>
                        <a:pt x="235543" y="0"/>
                        <a:pt x="235543" y="0"/>
                      </a:cubicBezTo>
                      <a:lnTo>
                        <a:pt x="0" y="0"/>
                      </a:lnTo>
                    </a:path>
                  </a:pathLst>
                </a:custGeom>
                <a:noFill/>
                <a:ln w="16717" cap="rnd">
                  <a:solidFill>
                    <a:schemeClr val="tx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GB"/>
                </a:p>
              </p:txBody>
            </p:sp>
            <p:sp>
              <p:nvSpPr>
                <p:cNvPr id="1393" name="Freeform: Shape 187">
                  <a:extLst>
                    <a:ext uri="{FF2B5EF4-FFF2-40B4-BE49-F238E27FC236}">
                      <a16:creationId xmlns:a16="http://schemas.microsoft.com/office/drawing/2014/main" xmlns="" id="{A6C4B4CA-9048-4768-A97B-14566CE1EEA3}"/>
                    </a:ext>
                  </a:extLst>
                </p:cNvPr>
                <p:cNvSpPr/>
                <p:nvPr/>
              </p:nvSpPr>
              <p:spPr>
                <a:xfrm>
                  <a:off x="305779" y="389902"/>
                  <a:ext cx="353314" cy="84122"/>
                </a:xfrm>
                <a:custGeom>
                  <a:avLst/>
                  <a:gdLst>
                    <a:gd name="connsiteX0" fmla="*/ 336490 w 353314"/>
                    <a:gd name="connsiteY0" fmla="*/ 84122 h 84122"/>
                    <a:gd name="connsiteX1" fmla="*/ 353314 w 353314"/>
                    <a:gd name="connsiteY1" fmla="*/ 50473 h 84122"/>
                    <a:gd name="connsiteX2" fmla="*/ 336490 w 353314"/>
                    <a:gd name="connsiteY2" fmla="*/ 0 h 84122"/>
                    <a:gd name="connsiteX3" fmla="*/ 0 w 353314"/>
                    <a:gd name="connsiteY3" fmla="*/ 0 h 841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53314" h="84122">
                      <a:moveTo>
                        <a:pt x="336490" y="84122"/>
                      </a:moveTo>
                      <a:cubicBezTo>
                        <a:pt x="336490" y="84122"/>
                        <a:pt x="353314" y="84122"/>
                        <a:pt x="353314" y="50473"/>
                      </a:cubicBezTo>
                      <a:cubicBezTo>
                        <a:pt x="353314" y="0"/>
                        <a:pt x="336490" y="0"/>
                        <a:pt x="336490" y="0"/>
                      </a:cubicBezTo>
                      <a:lnTo>
                        <a:pt x="0" y="0"/>
                      </a:lnTo>
                    </a:path>
                  </a:pathLst>
                </a:custGeom>
                <a:noFill/>
                <a:ln w="16717" cap="rnd">
                  <a:solidFill>
                    <a:schemeClr val="tx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GB"/>
                </a:p>
              </p:txBody>
            </p:sp>
          </p:grpSp>
          <p:sp>
            <p:nvSpPr>
              <p:cNvPr id="1389" name="Freeform: Shape 188">
                <a:extLst>
                  <a:ext uri="{FF2B5EF4-FFF2-40B4-BE49-F238E27FC236}">
                    <a16:creationId xmlns:a16="http://schemas.microsoft.com/office/drawing/2014/main" xmlns="" id="{F47281D3-E79B-4751-9758-A90FB3D51DEC}"/>
                  </a:ext>
                </a:extLst>
              </p:cNvPr>
              <p:cNvSpPr/>
              <p:nvPr/>
            </p:nvSpPr>
            <p:spPr>
              <a:xfrm>
                <a:off x="305779" y="120710"/>
                <a:ext cx="252367" cy="235542"/>
              </a:xfrm>
              <a:custGeom>
                <a:avLst/>
                <a:gdLst>
                  <a:gd name="connsiteX0" fmla="*/ 252367 w 252367"/>
                  <a:gd name="connsiteY0" fmla="*/ 235543 h 235542"/>
                  <a:gd name="connsiteX1" fmla="*/ 252367 w 252367"/>
                  <a:gd name="connsiteY1" fmla="*/ 33649 h 235542"/>
                  <a:gd name="connsiteX2" fmla="*/ 194996 w 252367"/>
                  <a:gd name="connsiteY2" fmla="*/ 0 h 235542"/>
                  <a:gd name="connsiteX3" fmla="*/ 134596 w 252367"/>
                  <a:gd name="connsiteY3" fmla="*/ 33649 h 235542"/>
                  <a:gd name="connsiteX4" fmla="*/ 134596 w 252367"/>
                  <a:gd name="connsiteY4" fmla="*/ 168245 h 235542"/>
                  <a:gd name="connsiteX5" fmla="*/ 0 w 252367"/>
                  <a:gd name="connsiteY5" fmla="*/ 235543 h 2355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52367" h="235542">
                    <a:moveTo>
                      <a:pt x="252367" y="235543"/>
                    </a:moveTo>
                    <a:lnTo>
                      <a:pt x="252367" y="33649"/>
                    </a:lnTo>
                    <a:cubicBezTo>
                      <a:pt x="252367" y="33649"/>
                      <a:pt x="252367" y="0"/>
                      <a:pt x="194996" y="0"/>
                    </a:cubicBezTo>
                    <a:cubicBezTo>
                      <a:pt x="134596" y="0"/>
                      <a:pt x="134596" y="33649"/>
                      <a:pt x="134596" y="33649"/>
                    </a:cubicBezTo>
                    <a:lnTo>
                      <a:pt x="134596" y="168245"/>
                    </a:lnTo>
                    <a:lnTo>
                      <a:pt x="0" y="235543"/>
                    </a:lnTo>
                  </a:path>
                </a:pathLst>
              </a:custGeom>
              <a:noFill/>
              <a:ln w="16717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</p:grpSp>
      </p:grpSp>
      <p:sp>
        <p:nvSpPr>
          <p:cNvPr id="1370" name="Rectangle 1369">
            <a:extLst>
              <a:ext uri="{FF2B5EF4-FFF2-40B4-BE49-F238E27FC236}">
                <a16:creationId xmlns:a16="http://schemas.microsoft.com/office/drawing/2014/main" xmlns="" id="{E1FB5DAD-9CB8-44E9-8E9E-BFFF166FFB2C}"/>
              </a:ext>
            </a:extLst>
          </p:cNvPr>
          <p:cNvSpPr/>
          <p:nvPr/>
        </p:nvSpPr>
        <p:spPr>
          <a:xfrm>
            <a:off x="263524" y="1249877"/>
            <a:ext cx="2914125" cy="276999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r>
              <a:rPr lang="en-GB" sz="1600" b="1" dirty="0">
                <a:solidFill>
                  <a:srgbClr val="000000"/>
                </a:solidFill>
                <a:ea typeface="ABBvoice" charset="0"/>
                <a:cs typeface="Arial" panose="020B0604020202020204" pitchFamily="34" charset="0"/>
              </a:rPr>
              <a:t>Heavyweight marke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EEF3476A-8F0B-45D7-B806-F9F97A780586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C24EC536-6FE3-4540-8D85-74C58F0BF697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51E17979-5481-33CD-5AB7-31D9D4B2C25B}"/>
              </a:ext>
            </a:extLst>
          </p:cNvPr>
          <p:cNvSpPr txBox="1"/>
          <p:nvPr/>
        </p:nvSpPr>
        <p:spPr>
          <a:xfrm>
            <a:off x="4106174" y="6198589"/>
            <a:ext cx="1147314" cy="14664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1000" dirty="0"/>
              <a:t>Our installed base</a:t>
            </a:r>
            <a:endParaRPr lang="sv-SE" sz="1000" dirty="0" err="1"/>
          </a:p>
        </p:txBody>
      </p:sp>
    </p:spTree>
    <p:extLst>
      <p:ext uri="{BB962C8B-B14F-4D97-AF65-F5344CB8AC3E}">
        <p14:creationId xmlns:p14="http://schemas.microsoft.com/office/powerpoint/2010/main" val="291128974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xmlns="" id="{CA3D4063-431C-7286-E0F2-880210B456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shed Offshore Grid – Driver / Need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9A544893-4CC2-2E94-DC18-737A5AC01B29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C24EC536-6FE3-4540-8D85-74C58F0BF697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B00E7634-D74C-DCCE-A67D-36F10348B1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9" name="Content Placeholder 5" descr="A picture containing text, map, font, atlas&#10;&#10;Description automatically generated">
            <a:extLst>
              <a:ext uri="{FF2B5EF4-FFF2-40B4-BE49-F238E27FC236}">
                <a16:creationId xmlns:a16="http://schemas.microsoft.com/office/drawing/2014/main" xmlns="" id="{4547781D-E745-0EE2-4DD9-34C7A2973C5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gray">
          <a:xfrm>
            <a:off x="1578998" y="1002567"/>
            <a:ext cx="9034003" cy="4354389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2A9F767A-2E33-0C43-D407-786FB2062D85}"/>
              </a:ext>
            </a:extLst>
          </p:cNvPr>
          <p:cNvSpPr txBox="1"/>
          <p:nvPr/>
        </p:nvSpPr>
        <p:spPr>
          <a:xfrm>
            <a:off x="222175" y="5479579"/>
            <a:ext cx="11969825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tabLst>
                <a:tab pos="2703830" algn="l"/>
              </a:tabLst>
            </a:pPr>
            <a:r>
              <a:rPr lang="en-US" sz="1600" kern="6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Offshore wind grid connection systems using HVDC technology are nowadays planned and executed in point-to-point connections. Hitachi Energy performed a </a:t>
            </a:r>
            <a:r>
              <a:rPr lang="en-GB" sz="1600" kern="6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future scenario modelling, indicating the need for Offshore wind expansions, where the European case is urging on so called Meshed Offshore Grids (MOG).</a:t>
            </a:r>
            <a:endParaRPr lang="en-US" sz="1600" kern="600" dirty="0">
              <a:effectLst/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120081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xmlns="" id="{E3B6D2A6-7318-C8CF-6809-AD0377AFCE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eld-experiences with well defined standard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C39A88FD-F130-A770-D04A-D4557F0371F6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C24EC536-6FE3-4540-8D85-74C58F0BF697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E28B1E23-8402-3F84-E870-63D176EFE4D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6" name="Content Placeholder 5" descr="A screenshot of a computer&#10;&#10;Description automatically generated with low confidence">
            <a:extLst>
              <a:ext uri="{FF2B5EF4-FFF2-40B4-BE49-F238E27FC236}">
                <a16:creationId xmlns:a16="http://schemas.microsoft.com/office/drawing/2014/main" xmlns="" id="{58C73BA5-725D-F03B-92E2-6BEFF3AD197B}"/>
              </a:ext>
            </a:extLst>
          </p:cNvPr>
          <p:cNvPicPr>
            <a:picLocks noGrp="1" noChangeAspect="1"/>
          </p:cNvPicPr>
          <p:nvPr>
            <p:ph sz="quarter" idx="21"/>
          </p:nvPr>
        </p:nvPicPr>
        <p:blipFill>
          <a:blip r:embed="rId2"/>
          <a:stretch>
            <a:fillRect/>
          </a:stretch>
        </p:blipFill>
        <p:spPr>
          <a:xfrm>
            <a:off x="1477243" y="1115225"/>
            <a:ext cx="9237514" cy="416150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40211C18-D910-E269-ABBA-F77A96CE6AD5}"/>
              </a:ext>
            </a:extLst>
          </p:cNvPr>
          <p:cNvSpPr txBox="1"/>
          <p:nvPr/>
        </p:nvSpPr>
        <p:spPr>
          <a:xfrm>
            <a:off x="130140" y="5439464"/>
            <a:ext cx="11746044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tabLst>
                <a:tab pos="2703830" algn="l"/>
              </a:tabLst>
            </a:pPr>
            <a:r>
              <a:rPr lang="en-US" sz="1600" kern="6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Hitachi Energy has in the years grown extensive engineering competences to support the development, the design and the execution of multiterminal HVDC systems in a single vendor environment and has contributed to several trade associations and working groups. This process started already in a number of working groups in CIGRE around 2010 and is still ongoing. </a:t>
            </a:r>
          </a:p>
        </p:txBody>
      </p:sp>
    </p:spTree>
    <p:extLst>
      <p:ext uri="{BB962C8B-B14F-4D97-AF65-F5344CB8AC3E}">
        <p14:creationId xmlns:p14="http://schemas.microsoft.com/office/powerpoint/2010/main" val="24244093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804304640405335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GFQNTJQb97XOIns3qZ_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sedicof1\AppData\Local\Temp\Templafy\PowerPointVsto\Assets\battery support.sv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sedicof1\AppData\Local\Temp\Templafy\PowerPointVsto\Assets\battery support.sv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sedicof1\AppData\Local\Temp\Templafy\PowerPointVsto\Assets\solar_pane.sv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sedicof1\AppData\Local\Temp\Templafy\PowerPointVsto\Assets\building.sv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sedicof1\AppData\Local\Temp\Templafy\PowerPointVsto\Assets\factory.sv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sedicof1\AppData\Local\Temp\Templafy\PowerPointVsto\Assets\windmill.sv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W4GCcDxQBcPKLIfOODU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sedicof1\AppData\Local\Temp\Templafy\PowerPointVsto\Assets\factory chimney single.sv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sedicof1\AppData\Local\Temp\Templafy\PowerPointVsto\Assets\factory chimney single.sv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sedicof1\AppData\Local\Temp\Templafy\PowerPointVsto\Assets\power_transformer.sv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sedicof1\AppData\Local\Temp\Templafy\PowerPointVsto\Assets\solar_pane.sv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sedicof1\AppData\Local\Temp\Templafy\PowerPointVsto\Assets\building.sv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sedicof1\AppData\Local\Temp\Templafy\PowerPointVsto\Assets\factory.sv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sedicof1\AppData\Local\Temp\Templafy\PowerPointVsto\Assets\windmill.sv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itachi Energy">
  <a:themeElements>
    <a:clrScheme name="Custom 1">
      <a:dk1>
        <a:sysClr val="windowText" lastClr="000000"/>
      </a:dk1>
      <a:lt1>
        <a:sysClr val="window" lastClr="FFFFFF"/>
      </a:lt1>
      <a:dk2>
        <a:srgbClr val="FF0026"/>
      </a:dk2>
      <a:lt2>
        <a:srgbClr val="B1000E"/>
      </a:lt2>
      <a:accent1>
        <a:srgbClr val="7E000A"/>
      </a:accent1>
      <a:accent2>
        <a:srgbClr val="2D2D2D"/>
      </a:accent2>
      <a:accent3>
        <a:srgbClr val="4D4D4D"/>
      </a:accent3>
      <a:accent4>
        <a:srgbClr val="737373"/>
      </a:accent4>
      <a:accent5>
        <a:srgbClr val="B3B3B3"/>
      </a:accent5>
      <a:accent6>
        <a:srgbClr val="D9D9D9"/>
      </a:accent6>
      <a:hlink>
        <a:srgbClr val="FF0026"/>
      </a:hlink>
      <a:folHlink>
        <a:srgbClr val="B1000E"/>
      </a:folHlink>
    </a:clrScheme>
    <a:fontScheme name="Hitachi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000000"/>
        </a:solidFill>
        <a:ln>
          <a:noFill/>
        </a:ln>
      </a:spPr>
      <a:bodyPr rtlCol="0" anchor="t"/>
      <a:lstStyle>
        <a:defPPr algn="l">
          <a:defRPr sz="1400" dirty="0" err="1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defRPr sz="1400" dirty="0" err="1" smtClean="0"/>
        </a:defPPr>
      </a:lstStyle>
    </a:txDef>
  </a:objectDefaults>
  <a:extraClrSchemeLst/>
  <a:custClrLst>
    <a:custClr>
      <a:srgbClr val="2D2D2D"/>
    </a:custClr>
    <a:custClr>
      <a:srgbClr val="4D4D4D"/>
    </a:custClr>
    <a:custClr>
      <a:srgbClr val="737373"/>
    </a:custClr>
    <a:custClr>
      <a:srgbClr val="B3B3B3"/>
    </a:custClr>
    <a:custClr>
      <a:srgbClr val="D9D9D9"/>
    </a:custClr>
  </a:custClrLst>
  <a:extLst>
    <a:ext uri="{05A4C25C-085E-4340-85A3-A5531E510DB2}">
      <thm15:themeFamily xmlns:thm15="http://schemas.microsoft.com/office/thememl/2012/main" xmlns="" name="Presentation1" id="{387C3827-3C38-46B7-B7EF-08EF35410397}" vid="{3B3D2B3F-8A4F-4ADB-94D9-D2E79CCA1AC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Arial"/>
        <a:font script="Hang" typeface="Arial"/>
        <a:font script="Hans" typeface="Arial"/>
        <a:font script="Hant" typeface="Arial"/>
        <a:font script="Arab" typeface="Arial"/>
        <a:font script="Hebr" typeface="Arial"/>
        <a:font script="Thai" typeface="Arial"/>
        <a:font script="Ethi" typeface="Arial"/>
        <a:font script="Beng" typeface="Arial"/>
        <a:font script="Gujr" typeface="Arial"/>
        <a:font script="Khmr" typeface="Arial"/>
        <a:font script="Knda" typeface="Arial"/>
        <a:font script="Guru" typeface="Arial"/>
        <a:font script="Cans" typeface="Arial"/>
        <a:font script="Cher" typeface="Arial"/>
        <a:font script="Yiii" typeface="Arial"/>
        <a:font script="Tibt" typeface="Arial"/>
        <a:font script="Thaa" typeface="Arial"/>
        <a:font script="Deva" typeface="Arial"/>
        <a:font script="Telu" typeface="Arial"/>
        <a:font script="Taml" typeface="Arial"/>
        <a:font script="Syrc" typeface="Arial"/>
        <a:font script="Orya" typeface="Arial"/>
        <a:font script="Mlym" typeface="Arial"/>
        <a:font script="Laoo" typeface="Arial"/>
        <a:font script="Sinh" typeface="Arial"/>
        <a:font script="Mong" typeface="Arial"/>
        <a:font script="Viet" typeface="Arial"/>
        <a:font script="Uigh" typeface="Arial"/>
        <a:font script="Geor" typeface="Arial"/>
        <a:font script="Armn" typeface="Arial"/>
        <a:font script="Bugi" typeface="Arial"/>
        <a:font script="Bopo" typeface="Arial"/>
        <a:font script="Java" typeface="Arial"/>
        <a:font script="Lisu" typeface="Arial"/>
        <a:font script="Mymr" typeface="Arial"/>
        <a:font script="Nkoo" typeface="Arial"/>
        <a:font script="Olck" typeface="Arial"/>
        <a:font script="Osma" typeface="Arial"/>
        <a:font script="Phag" typeface="Arial"/>
        <a:font script="Syrn" typeface="Arial"/>
        <a:font script="Syrj" typeface="Arial"/>
        <a:font script="Syre" typeface="Arial"/>
        <a:font script="Sora" typeface="Arial"/>
        <a:font script="Tale" typeface="Arial"/>
        <a:font script="Talu" typeface="Arial"/>
        <a:font script="Tfng" typeface="Arial"/>
      </a:majorFont>
      <a:minorFont>
        <a:latin typeface="Arial"/>
        <a:ea typeface=""/>
        <a:cs typeface=""/>
        <a:font script="Jpan" typeface="Arial"/>
        <a:font script="Hang" typeface="Arial"/>
        <a:font script="Hans" typeface="Arial"/>
        <a:font script="Hant" typeface="Arial"/>
        <a:font script="Arab" typeface="Arial"/>
        <a:font script="Hebr" typeface="Arial"/>
        <a:font script="Thai" typeface="Arial"/>
        <a:font script="Ethi" typeface="Arial"/>
        <a:font script="Beng" typeface="Arial"/>
        <a:font script="Gujr" typeface="Arial"/>
        <a:font script="Khmr" typeface="Arial"/>
        <a:font script="Knda" typeface="Arial"/>
        <a:font script="Guru" typeface="Arial"/>
        <a:font script="Cans" typeface="Arial"/>
        <a:font script="Cher" typeface="Arial"/>
        <a:font script="Yiii" typeface="Arial"/>
        <a:font script="Tibt" typeface="Arial"/>
        <a:font script="Thaa" typeface="Arial"/>
        <a:font script="Deva" typeface="Arial"/>
        <a:font script="Telu" typeface="Arial"/>
        <a:font script="Taml" typeface="Arial"/>
        <a:font script="Syrc" typeface="Arial"/>
        <a:font script="Orya" typeface="Arial"/>
        <a:font script="Mlym" typeface="Arial"/>
        <a:font script="Laoo" typeface="Arial"/>
        <a:font script="Sinh" typeface="Arial"/>
        <a:font script="Mong" typeface="Arial"/>
        <a:font script="Viet" typeface="Arial"/>
        <a:font script="Uigh" typeface="Arial"/>
        <a:font script="Geor" typeface="Arial"/>
        <a:font script="Armn" typeface="Arial"/>
        <a:font script="Bugi" typeface="Arial"/>
        <a:font script="Bopo" typeface="Arial"/>
        <a:font script="Java" typeface="Arial"/>
        <a:font script="Lisu" typeface="Arial"/>
        <a:font script="Mymr" typeface="Arial"/>
        <a:font script="Nkoo" typeface="Arial"/>
        <a:font script="Olck" typeface="Arial"/>
        <a:font script="Osma" typeface="Arial"/>
        <a:font script="Phag" typeface="Arial"/>
        <a:font script="Syrn" typeface="Arial"/>
        <a:font script="Syrj" typeface="Arial"/>
        <a:font script="Syre" typeface="Arial"/>
        <a:font script="Sora" typeface="Arial"/>
        <a:font script="Tale" typeface="Arial"/>
        <a:font script="Talu" typeface="Arial"/>
        <a:font script="Tfng"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>
      <a:srgbClr val="2D2D2D"/>
    </a:custClr>
    <a:custClr>
      <a:srgbClr val="4D4D4D"/>
    </a:custClr>
    <a:custClr>
      <a:srgbClr val="737373"/>
    </a:custClr>
    <a:custClr>
      <a:srgbClr val="B3B3B3"/>
    </a:custClr>
    <a:custClr>
      <a:srgbClr val="D9D9D9"/>
    </a:custClr>
  </a:custClrLst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0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A239D8F810E2649A1753AC1D19E6DB3" ma:contentTypeVersion="16" ma:contentTypeDescription="Create a new document." ma:contentTypeScope="" ma:versionID="34e1a15781184371ec38c5761569efc6">
  <xsd:schema xmlns:xsd="http://www.w3.org/2001/XMLSchema" xmlns:xs="http://www.w3.org/2001/XMLSchema" xmlns:p="http://schemas.microsoft.com/office/2006/metadata/properties" xmlns:ns3="6f2dec98-6728-4951-9a41-ba7d9f1f337c" xmlns:ns4="32390ee3-5230-4ced-8179-246355394c64" targetNamespace="http://schemas.microsoft.com/office/2006/metadata/properties" ma:root="true" ma:fieldsID="959eb978332b468e86e38f20123369bd" ns3:_="" ns4:_="">
    <xsd:import namespace="6f2dec98-6728-4951-9a41-ba7d9f1f337c"/>
    <xsd:import namespace="32390ee3-5230-4ced-8179-246355394c64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OCR" minOccurs="0"/>
                <xsd:element ref="ns4:MediaServiceGenerationTime" minOccurs="0"/>
                <xsd:element ref="ns4:MediaServiceEventHashCode" minOccurs="0"/>
                <xsd:element ref="ns4:MediaServiceDateTaken" minOccurs="0"/>
                <xsd:element ref="ns4:MediaServiceLocation" minOccurs="0"/>
                <xsd:element ref="ns4:MediaServiceAutoKeyPoints" minOccurs="0"/>
                <xsd:element ref="ns4:MediaServiceKeyPoints" minOccurs="0"/>
                <xsd:element ref="ns4:MediaLengthInSeconds" minOccurs="0"/>
                <xsd:element ref="ns4:_activity" minOccurs="0"/>
                <xsd:element ref="ns4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f2dec98-6728-4951-9a41-ba7d9f1f337c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2390ee3-5230-4ced-8179-246355394c6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Length (seconds)" ma:internalName="MediaLengthInSeconds" ma:readOnly="true">
      <xsd:simpleType>
        <xsd:restriction base="dms:Unknown"/>
      </xsd:simpleType>
    </xsd:element>
    <xsd:element name="_activity" ma:index="22" nillable="true" ma:displayName="_activity" ma:hidden="true" ma:internalName="_activity">
      <xsd:simpleType>
        <xsd:restriction base="dms:Note"/>
      </xsd:simpleType>
    </xsd:element>
    <xsd:element name="MediaServiceObjectDetectorVersions" ma:index="23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1.xml><?xml version="1.0" encoding="utf-8"?>
<TemplafySlideTemplateConfiguration><![CDATA[{"slideVersion":1,"isValidatorEnabled":false,"isLocked":false,"elementsMetadata":[],"slideId":"638043677510512382","enableDocumentContentUpdater":false,"version":"2.0"}]]></TemplafySlideTemplateConfiguration>
</file>

<file path=customXml/item12.xml><?xml version="1.0" encoding="utf-8"?>
<TemplafyFormConfiguration><![CDATA[{"formFields":[{"required":true,"placeholder":"","lines":0,"helpTexts":{"prefix":"","postfix":""},"spacing":{},"shareValue":false,"type":"textBox","name":"DocumentTitle","label":"Title"},{"required":false,"placeholder":"","lines":0,"helpTexts":{"prefix":"","postfix":""},"spacing":{},"shareValue":false,"type":"textBox","name":"SupplementaryTitle","label":"Supplementary Title"},{"required":false,"placeholder":"","lines":0,"helpTexts":{"prefix":"","postfix":""},"spacing":{},"shareValue":false,"type":"textBox","name":"AdditionalInformation","label":"Additional Information"},{"required":false,"placeholder":"","lines":0,"defaultValue":"{{StringJoin(\" \", UserProfile.FirstName, UserProfile.LastName)}}","helpTexts":{"prefix":"","postfix":""},"spacing":{},"shareValue":false,"type":"textBox","name":"PPreparedBy","label":"Prepared by"},{"required":true,"helpTexts":{"prefix":"","postfix":""},"spacing":{},"shareValue":false,"type":"datePicker","name":"Date","label":"Date"},{"distinct":true,"hideIfNoUserInteractionRequired":false,"required":true,"defaultValue":"Internal","autoSelectFirstOption":false,"helpTexts":{"prefix":"","postfix":""},"spacing":{},"shareValue":false,"type":"dropDown","dataSourceName":"SecurityLevels","dataSourceFieldName":"SecurityLevels","name":"PSecurityLevel","label":"Security Level"},{"required":false,"placeholder":"","lines":0,"helpTexts":{"prefix":"","postfix":""},"spacing":{},"shareValue":false,"type":"textBox","name":"DocumentID","label":"Document Id"},{"distinct":true,"hideIfNoUserInteractionRequired":true,"required":false,"autoSelectFirstOption":true,"helpTexts":{"prefix":"","postfix":""},"spacing":{},"shareValue":false,"type":"dropDown","dataSourceName":"P__DocumentID","dataSourceFieldName":"DocumentID","name":"DocumentIDInsertion","label":"Document Id Insertion"},{"required":false,"placeholder":"","lines":0,"defaultValue":"A","helpTexts":{"prefix":"","postfix":""},"spacing":{},"shareValue":false,"type":"textBox","name":"Prevision","label":"Document Revision Id."},{"distinct":true,"hideIfNoUserInteractionRequired":true,"required":false,"autoSelectFirstOption":true,"helpTexts":{"prefix":"","postfix":""},"spacing":{},"shareValue":false,"type":"dropDown","dataSourceName":"P__Revision","dataSourceFieldName":"Pp_revision","name":"RevisionInsertion","label":"RevisionInsertion"},{"required":true,"placeholder":"","lines":0,"defaultValue":"{{FormatDateTime(Now(), \"yyyy\")}}","helpTexts":{"prefix":"","postfix":"Year of first publication"},"spacing":{},"shareValue":false,"type":"textBox","name":"CopyrightInformation","label":"Copyright Year"}],"formDataEntries":[{"name":"DocumentTitle","value":"f9l4xIc0cFmvPberIh2wA77cgB9IFoTOmDTjfmvJ66c="},{"name":"SupplementaryTitle","value":"64icoJMDDeohElYLP0c4T/0sL7tubq7bEPXE09O8NS4="},{"name":"PPreparedBy","value":"qu5FLUjfBSmrjz8EZFkFXs9CUjdnRLrZ5V1T/lU0lZs="},{"name":"Date","value":"BG+Ddh3B9dX+O/BGo/fDvg=="},{"name":"PSecurityLevel","value":"tiWZV7dtifdeG5H//EJRB0fe/FevJ6Y0afm9LcbqEGA="},{"name":"DocumentIDInsertion","value":"vAg/drcIV6Xsu9W/kemFpybWUHTQchxtC1sOiH4Th7I="},{"name":"Prevision","value":"O49+Vt6QAfxl87HqJlS4Pw=="},{"name":"RevisionInsertion","value":"wxDBL4hR7tIGD5RBl9aAAAschN+MdqnPhE2+Jl21kFo="},{"name":"CopyrightInformation","value":"y71kmKWVTHU92ZF6KLtqYA=="}]}]]></TemplafyFormConfiguration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32390ee3-5230-4ced-8179-246355394c64" xsi:nil="true"/>
  </documentManagement>
</p:properties>
</file>

<file path=customXml/item3.xml><?xml version="1.0" encoding="utf-8"?>
<TemplafySlideTemplateConfiguration><![CDATA[{"slideVersion":0,"isValidatorEnabled":false,"isLocked":false,"elementsMetadata":[],"slideId":"637696682962771136","enableDocumentContentUpdater":true,"version":"1.11"}]]></TemplafySlideTemplateConfiguration>
</file>

<file path=customXml/item4.xml><?xml version="1.0" encoding="utf-8"?>
<TemplafySlideTemplateConfiguration><![CDATA[{"slideVersion":1,"isValidatorEnabled":false,"isLocked":false,"elementsMetadata":[],"slideId":"637883913987334064","enableDocumentContentUpdater":true,"version":"2.0"}]]></TemplafySlideTemplateConfiguration>
</file>

<file path=customXml/item5.xml><?xml version="1.0" encoding="utf-8"?>
<TemplafyTemplateConfiguration><![CDATA[{"elementsMetadata":[],"transformationConfigurations":[{"propertyName":"title","propertyValue":"{{Form.DocumentTitle}}","disableUpdates":false,"type":"documentProperty"},{"propertyName":"SecurityLevel","propertyValue":"{{Form.PSecurityLevel.SecurityLevels}}","disableUpdates":false,"type":"customDocumentProperty"},{"propertyName":"subject","propertyValue":"{{Form.SupplementaryTitle}}","disableUpdates":false,"type":"documentProperty"},{"propertyName":"CreatorName","propertyValue":"{{StringJoin(\" \", UserProfile.FirstName, UserProfile.LastName)}}","disableUpdates":false,"type":"customDocumentProperty"},{"propertyName":"DocumentKind","propertyValue":"Presentation","disableUpdates":false,"type":"customDocumentProperty"},{"propertyName":"DocumentId","propertyValue":"{{Form.DocumentID}}","disableUpdates":false,"type":"customDocumentProperty"},{"propertyName":"SupplementaryTitle","propertyValue":"{{Form.SupplementaryTitle}}","disableUpdates":false,"type":"customDocumentProperty"},{"propertyName":"DocumentTitle","propertyValue":"{{Form.DocumentTitle}}","disableUpdates":false,"type":"customDocumentProperty"},{"propertyName":"CopyrightYear","propertyValue":"{{Form.CopyrightInformation}}","disableUpdates":false,"type":"customDocumentProperty"},{"propertyName":"DocumentRevisionId","propertyValue":"{{Form.Prevision}}","disableUpdates":false,"type":"customDocumentProperty"},{"propertyName":"Date","propertyValue":"{{Form.Date}}","disableUpdates":false,"type":"customDocumentProperty"},{"propertyName":"PreparedByPerson","propertyValue":"{{Form.PPreparedBy}}","disableUpdates":false,"type":"customDocumentProperty"},{"propertyName":"AdditionalInformation","propertyValue":"{{Form.AdditionalInformation}}","disableUpdates":false,"type":"customDocumentProperty"}],"templateName":"PowerPoint Template","templateDescription":"Hitachi Energy template","enableDocumentContentUpdater":true,"version":"2.0"}]]></TemplafyTemplateConfiguration>
</file>

<file path=customXml/item6.xml><?xml version="1.0" encoding="utf-8"?>
<Update>
  <Cmd case="SkabelonDesign.DocumentData:DefineData" variableName="AdditionalInformation">
    <Doc.Prop.AdditionalInformation>
      <Doc.Prop.AdditionalInformation/>
    </Doc.Prop.AdditionalInformation>
    <s/>
  </Cmd>
  <Cmd case="SkabelonDesign.DocumentData:DefineData" variableName="ReferenceNo">
    <Doc.Prop.ReferenceNo>
      <Doc.Prop.ReferenceNo/>
    </Doc.Prop.ReferenceNo>
    <s/>
  </Cmd>
  <Cmd case="SkabelonDesign.DocumentData:DefineData" variableName="BasedOn">
    <Doc.Prop.BasedOn>
      <Doc.Prop.BasedOn/>
    </Doc.Prop.BasedOn>
    <s/>
  </Cmd>
  <Cmd case="SkabelonDesign.DocumentData:DefineData" variableName="BasedOnDocumentId">
    <Doc.Prop.BasedOnDocumentId>
      <Doc.Prop.BasedOnDocumentId/>
    </Doc.Prop.BasedOnDocumentId>
    <s/>
  </Cmd>
  <Cmd case="SkabelonDesign.DocumentData:DefineData" variableName="BasedOnLanguageCode">
    <Doc.Prop.BasedOnLanguageCode>
      <Doc.Prop.BasedOnLanguageCode/>
    </Doc.Prop.BasedOnLanguageCode>
    <s/>
  </Cmd>
  <Cmd case="SkabelonDesign.DocumentData:DefineData" variableName="BasedOnDocumentRevisionId">
    <Doc.Prop.BasedOnDocumentRevisionId>
      <Doc.Prop.BasedOnDocumentRevisionId/>
    </Doc.Prop.BasedOnDocumentRevisionId>
    <s/>
  </Cmd>
  <Cmd case="SkabelonDesign.DocumentData:DefineData" variableName="BasedOnDocumentPartId">
    <Doc.Prop.BasedOnDocumentPartId>
      <Doc.Prop.BasedOnDocumentPartId/>
    </Doc.Prop.BasedOnDocumentPartId>
    <s/>
  </Cmd>
  <Cmd case="SkabelonDesign.DocumentData:DefineData" variableName="CustomerName">
    <Doc.Prop.CustomerName>
      <Doc.Prop.CustomerName/>
    </Doc.Prop.CustomerName>
    <s/>
  </Cmd>
  <Cmd case="SkabelonDesign.DocumentData:DefineData" variableName="ProjectName">
    <Doc.Prop.ProjectName>
      <Doc.Prop.ProjectName/>
    </Doc.Prop.ProjectName>
    <s/>
  </Cmd>
  <Cmd case="SkabelonDesign.DocumentData:DefineData" variableName="ProjectId">
    <Doc.Prop.ProjectId>
      <Doc.Prop.ProjectId/>
    </Doc.Prop.ProjectId>
    <s/>
  </Cmd>
  <Cmd case="SkabelonDesign.DocumentData:DefineData" variableName="DocumentIdExternal">
    <Doc.Prop.DocumentIdExternal>
      <Doc.Prop.DocumentIdExternal/>
    </Doc.Prop.DocumentIdExternal>
    <s/>
  </Cmd>
  <Cmd case="SkabelonDesign.DocumentData:DefineData" variableName="DocumentClassIdIEC61355">
    <Doc.Prop.DocumentClassIdIEC61355>
      <Doc.Prop.DocumentClassIdIEC61355/>
    </Doc.Prop.DocumentClassIdIEC61355>
    <s/>
  </Cmd>
  <Cmd case="SkabelonDesign.DocumentData:DefineData" variableName="OccurrenceIdIEC61346">
    <Doc.Prop.OccurrenceIdIEC61346>
      <Doc.Prop.OccurrenceIdIEC61346/>
    </Doc.Prop.OccurrenceIdIEC61346>
    <s/>
  </Cmd>
  <Cmd case="SkabelonDesign.DocumentData:DefineData" variableName="DocumentId">
    <Doc.Prop.DocumentId>
      <Doc.Prop.DocumentId/>
    </Doc.Prop.DocumentId>
    <s/>
  </Cmd>
  <Cmd case="SkabelonDesign.DocumentData:UpdateCustomXml" variableName="DocumentId" xpath="(//*[local-name() = 'documentManagement']/*[local-name() = 'ABB_Coll_DocumentId'])"/>
  <Cmd case="SkabelonDesign.DocumentData:DefineData" variableName="Date">
    <Doc.Prop.Date>
      <Doc.Prop.Date/>
    </Doc.Prop.Date>
    <s/>
  </Cmd>
  <Cmd case="SkabelonDesign.DocumentData:DefineData" variableName="Addressinput">
    <Doc.Prop.Addressinput>
      <Doc.Prop.Addressinput/>
    </Doc.Prop.Addressinput>
    <s/>
  </Cmd>
  <Cmd case="SkabelonDesign.DocumentData:DefineData" variableName="Business">
    <Doc.Prop.Business>
      <Doc.Prop.Business/>
    </Doc.Prop.Business>
    <s/>
  </Cmd>
  <Cmd case="SkabelonDesign.DocumentData:DefineData" variableName="CreatorName">
    <Doc.Prop.CreatorName>
      <Doc.Prop.CreatorName/>
    </Doc.Prop.CreatorName>
    <s/>
  </Cmd>
  <Cmd case="SkabelonDesign.DocumentData:DefineData" variableName="From">
    <Doc.Prop.From>
      <Doc.Prop.From/>
    </Doc.Prop.From>
    <s/>
  </Cmd>
  <Cmd case="SkabelonDesign.DocumentData:DefineData" variableName="PhoneDirect">
    <Doc.Prop.PhoneDirect>
      <Doc.Prop.PhoneDirect/>
    </Doc.Prop.PhoneDirect>
    <s/>
  </Cmd>
  <Cmd case="SkabelonDesign.DocumentData:DefineData" variableName="FAXDirect">
    <Doc.Prop.FAXDirect>
      <Doc.Prop.FAXDirect/>
    </Doc.Prop.FAXDirect>
    <s/>
  </Cmd>
  <Cmd case="SkabelonDesign.DocumentData:DefineData" variableName="E-mail">
    <Doc.Prop.E-mail>
      <Doc.Prop.E-mail/>
    </Doc.Prop.E-mail>
    <s/>
  </Cmd>
  <Cmd case="SkabelonDesign.DocumentData:DefineData" variableName="Cc">
    <Doc.Prop.Cc>
      <Doc.Prop.Cc/>
    </Doc.Prop.Cc>
    <s/>
  </Cmd>
  <Cmd case="SkabelonDesign.DocumentData:DefineData" variableName="JobTitle">
    <Doc.Prop.JobTitle>
      <Doc.Prop.JobTitle/>
    </Doc.Prop.JobTitle>
    <s/>
  </Cmd>
  <Cmd case="SkabelonDesign.DocumentData:DefineData" variableName="LanguageCode">
    <Doc.Prop.LanguageCode>
      <Doc.Prop.LanguageCode/>
    </Doc.Prop.LanguageCode>
    <s/>
  </Cmd>
  <cmd case="SkabelonDesign.DocumentData:UpdateCustomXml" variableName="LanguageCode" xpath="(//*[local-name() = 'documentManagement']/*[local-name() = 'o8cb8facb2054f9d919ea0674048ef40']/*[local-name() = 'Terms']/*[local-name() = 'TermInfo']/*[local-name() = 'TermName'])"/>
  <Cmd case="SkabelonDesign.DocumentData:DefineData" variableName="LanguageCodeGUID">
    <Doc.Prop.LanguageCodeGUID>
      <Doc.Prop.LanguageCodeGUID/>
    </Doc.Prop.LanguageCodeGUID>
    <s/>
  </Cmd>
  <cmd case="SkabelonDesign.DocumentData:UpdateCustomXml" variableName="LanguageCodeGUID" xpath="(//*[local-name() = 'documentManagement']/*[local-name() = 'o8cb8facb2054f9d919ea0674048ef40']/*[local-name() = 'Terms']/*[local-name() = 'TermInfo']/*[local-name() = 'TermId'])"/>
  <Cmd case="SkabelonDesign.DocumentData:DefineData" variableName="DocumentRevisionId">
    <Doc.Prop.DocumentRevisionId>
      <Doc.Prop.DocumentRevisionId/>
    </Doc.Prop.DocumentRevisionId>
    <s/>
  </Cmd>
  <Cmd case="SkabelonDesign.DocumentData:UpdateCustomXml" variableName="DocumentRevisionId" xpath="(//*[local-name() = 'documentManagement']/*[local-name() = 'DocumentRevisionId'])"/>
  <Cmd case="SkabelonDesign.DocumentData:DefineData" variableName="SecurityLevel">
    <Doc.Prop.SecurityLevel>
      <Doc.Prop.SecurityLevel/>
    </Doc.Prop.SecurityLevel>
    <s/>
  </Cmd>
  <Cmd case="SkabelonDesign.DocumentData:UpdateCustomXml" variableName="SecurityLevel" xpath="(//*[local-name() = 'documentManagement']/*[local-name() = 'ABB_Coll_SecurityLevel'])"/>
  <Cmd case="SkabelonDesign.DocumentData:DefineData" variableName="DocumentKind">
    <Doc.Prop.DocumentKind>
      <Doc.Prop.DocumentKind/>
    </Doc.Prop.DocumentKind>
    <s/>
  </Cmd>
  <cmd case="SkabelonDesign.DocumentData:UpdateCustomXml" variableName="DocumentKind" xpath="(//*[local-name() = 'documentManagement']/*[local-name() = 'na4369807a744182aff6832bcef961df']/*[local-name() = 'Terms']/*[local-name() = 'TermInfo']/*[local-name() = 'TermName'])"/>
  <Cmd case="SkabelonDesign.DocumentData:DefineData" variableName="DocumentKindGUID">
    <Doc.Prop.DocumentKindGUID>
      <Doc.Prop.DocumentKindGUID/>
    </Doc.Prop.DocumentKindGUID>
    <s/>
  </Cmd>
  <cmd case="SkabelonDesign.DocumentData:UpdateCustomXml" variableName="DocumentKindGUID" xpath="(//*[local-name() = 'documentManagement']/*[local-name() = 'na4369807a744182aff6832bcef961df']/*[local-name() = 'Terms']/*[local-name() = 'TermInfo']/*[local-name() = 'TermId'])"/>
  <Cmd case="SkabelonDesign.DocumentData:DefineData" variableName="CompanyName">
    <Doc.Prop.CompanyName>
      <Doc.Prop.CompanyName/>
    </Doc.Prop.CompanyName>
    <s/>
  </Cmd>
  <Cmd case="SkabelonDesign.DocumentData:DefineData" variableName="POBox">
    <Doc.Prop.POBox>
      <Doc.Prop.POBox/>
    </Doc.Prop.POBox>
    <s/>
  </Cmd>
  <Cmd case="SkabelonDesign.DocumentData:DefineData" variableName="City">
    <Doc.Prop.City>
      <Doc.Prop.City/>
    </Doc.Prop.City>
    <s/>
  </Cmd>
  <Cmd case="SkabelonDesign.DocumentData:DefineData" variableName="PostalAddress">
    <Doc.Prop.PostalAddress>
      <Doc.Prop.PostalAddress/>
    </Doc.Prop.PostalAddress>
    <s/>
  </Cmd>
  <Cmd case="SkabelonDesign.DocumentData:DefineData" variableName="PreparedByPerson">
    <Doc.Prop.PreparedByPerson>
      <Doc.Prop.PreparedByPerson/>
    </Doc.Prop.PreparedByPerson>
    <s/>
  </Cmd>
  <Cmd case="SkabelonDesign.DocumentData:UpdateCustomXml" variableName="PreparedByPerson" xpath="(//*[local-name() = 'documentManagement']/*[local-name() = 'ABB_Coll_PreparedByPerson'])"/>
  <Cmd case="SkabelonDesign.DocumentData:DefineData" variableName="PreparedDate">
    <Doc.Prop.PreparedDate>
      <Doc.Prop.PreparedDate/>
    </Doc.Prop.PreparedDate>
    <s/>
  </Cmd>
  <Cmd case="SkabelonDesign.DocumentData:UpdateCustomXml" variableName="PreparedDate" xpath="(//*[local-name() = 'documentManagement']/*[local-name() = 'ABB_Coll_PreparedDate'])"/>
  <Cmd case="SkabelonDesign.DocumentData:DefineData" variableName="ApprovedByPerson">
    <Doc.Prop.ApprovedByPerson>
      <Doc.Prop.ApprovedByPerson/>
    </Doc.Prop.ApprovedByPerson>
    <s/>
  </Cmd>
  <Cmd case="SkabelonDesign.DocumentData:DefineData" variableName="ApprovalDate">
    <Doc.Prop.ApprovalDate>
      <Doc.Prop.ApprovalDate/>
    </Doc.Prop.ApprovalDate>
    <s/>
  </Cmd>
  <Cmd case="SkabelonDesign.DocumentData:UpdateCustomXml" variableName="ApprovalDate" xpath="(//*[local-name() = 'documentManagement']/*[local-name() = 'ABB_Coll_ApprovalDate'])"/>
  <Cmd case="SkabelonDesign.DocumentData:DefineData" variableName="LifecycleStatus">
    <Doc.Prop.LifecycleStatus>
      <Doc.Prop.LifecycleStatus/>
    </Doc.Prop.LifecycleStatus>
    <s/>
  </Cmd>
  <Cmd case="SkabelonDesign.DocumentData:UpdateCustomXml" variableName="LifecycleStatus" xpath="(//*[local-name() = 'documentManagement']/*[local-name() = 'ABB_Coll_LifecycleStatus'])"/>
  <Cmd case="SkabelonDesign.DocumentData:DefineData" variableName="CopyrightYear">
    <Doc.Prop.CopyrightYear>
      <Doc.Prop.CopyrightYear/>
    </Doc.Prop.CopyrightYear>
    <s/>
  </Cmd>
  <Cmd case="SkabelonDesign.DocumentData:DefineData" variableName="SecurityLevel">
    <Doc.Prop.SecurityLevel>
      <Doc.Prop.SecurityLevel/>
    </Doc.Prop.SecurityLevel>
    <s/>
  </Cmd>
  <Cmd case="SkabelonDesign.DocumentData:DefineData" variableName="Title">
    <Doc.Prop.Title>
      <Doc.Prop.Title/>
    </Doc.Prop.Title>
    <Doc.Prop.DocumentTitle>
      <Doc.Prop.DocumentTitle/>
    </Doc.Prop.DocumentTitle>
    <s/>
  </Cmd>
  <Cmd case="SkabelonDesign.DocumentData:DefineData" variableName="SupplementaryTitle">
    <Doc.Prop.SupplementaryTitle>
      <Doc.Prop.SupplementaryTitle/>
    </Doc.Prop.SupplementaryTitle>
    <s/>
  </Cmd>
  <Cmd case="SkabelonDesign.DocumentData:DefineData" variableName="CategoryTitle">
    <Doc.Prop.CategoryTitle>
      <Doc.Prop.CategoryTitle/>
    </Doc.Prop.CategoryTitle>
    <s/>
  </Cmd>
  <Cmd case="SkabelonDesign.DocumentData:DefineData" variableName="Year">
    <Doc.Prop.Year>
      <Doc.Prop.Year/>
    </Doc.Prop.Year>
    <s/>
  </Cmd>
  <Cmd case="SkabelonDesign.DocumentData:DefineData" variableName="BusinessArea">
    <Doc.Prop.BusinessArea>
      <Doc.Prop.BusinessArea/>
    </Doc.Prop.BusinessArea>
    <s/>
  </Cmd>
  <Cmd case="SkabelonDesign.DocumentData:DefineData" variableName="OwningOrganization">
    <Doc.Prop.OwningOrganization>
      <Doc.Prop.OwningOrganization/>
    </Doc.Prop.OwningOrganization>
    <s/>
  </Cmd>
  <Cmd case="SkabelonDesign.DocumentData:UpdateCustomXml" variableName="OwningOrganization" xpath="(//*[local-name() = 'documentManagement']/*[local-name() = 'ABB_Coll_OwningOrganization'])"/>
  <Cmd case="SkabelonDesign.DocumentData:DefineData" variableName="Status">
    <Doc.Prop.Status>
      <Doc.Prop.Status/>
    </Doc.Prop.Status>
    <s/>
  </Cmd>
  <Cmd case="SkabelonDesign.DocumentData:DefineData" variableName="Term">
    <Doc.Prop.Term>
      <Doc.Prop.Term/>
    </Doc.Prop.Term>
    <s/>
  </Cmd>
  <cmd case="SkabelonDesign.DocumentData:UpdateCustomXml" variableName="Term" xpath="(//*[local-name() = 'documentManagement']/*[local-name() = 'f1a8b6118a1a4f3ebb578e89f20c0a61']/*[local-name() = 'Terms']/*[local-name() = 'TermInfo']/*[local-name() = 'TermName'])"/>
  <Cmd case="SkabelonDesign.DocumentData:DefineData" variableName="TermGUID">
    <Doc.Prop.TermGUID>
      <Doc.Prop.TermGUID/>
    </Doc.Prop.TermGUID>
    <s/>
  </Cmd>
  <cmd case="SkabelonDesign.DocumentData:UpdateCustomXml" variableName="TermGUID" xpath="(//*[local-name() = 'documentManagement']/*[local-name() = 'f1a8b6118a1a4f3ebb578e89f20c0a61']/*[local-name() = 'Terms']/*[local-name() = 'TermInfo']/*[local-name() = 'TermId'])"/>
  <Cmd case="SkabelonDesign.DocumentData:DefineData" variableName="Copyright">
    <Doc.Prop.CopyrightYear>
      <s><![CDATA[© ]]></s>
      <Doc.Prop.CopyrightYear/>
      <s> Hitachi Energy. All rights reserved.</s>
    </Doc.Prop.CopyrightYear>
    <Custom Name="Doc.XPath/*[local-name() = 'GrowBusinessDocument']/*[local-name() = 'DocumentTitle.Title']">
      <Custom Name="Doc.XPath/*[local-name() = 'GrowBusinessDocument']/*[local-name() = 'DocumentTitle.Title']"/>
    </Custom>
    <s/>
  </Cmd>
  <Cmd case="SkabelonDesign.DocumentData:DefineData" variableName="DocumentRevisionIdLabelAndValue">
    <Doc.Prop.DocumentRevisionId>
      <s><![CDATA[ - Rev:  ]]></s>
      <Doc.Prop.DocumentRevisionId/>
    </Doc.Prop.DocumentRevisionId>
    <s/>
  </Cmd>
  <Cmd case="SkabelonDesign.DocumentData:DefineData" variableName="PPMetadata">
    <Doc.Prop.DocumentID>
      <Doc.Prop.Date/>
      <s><![CDATA[ - Document ID:]]></s>
      <Doc.Prop.DocumentID/>
      <DocumentRevisionIdLabelAndValue/>
    </Doc.Prop.DocumentID>
    <Doc.Prop.Date>
      <Doc.Prop.Date/>
    </Doc.Prop.Date>
    <s/>
  </Cmd>
  <Cmd case="SkabelonDesign.DocumentData:DefineData" variableName="DocumentIdLabel">
    <Doc.Prop.DocumentID>
      <s><![CDATA[Document ID.:]]></s>
    </Doc.Prop.DocumentID>
    <s/>
  </Cmd>
  <Cmd case="SkabelonDesign.DocumentData:DefineData" variableName="DocumentRevisionIdLabel">
    <Doc.Prop.DocumentID>
      <s><![CDATA[Rev.:]]></s>
    </Doc.Prop.DocumentID>
    <s/>
  </Cmd>
  <Cmd case="BaseExtensions:If" if-1-type="documentprop" if-1-key="SecurityLevel" if-1-value="Internal">
    <True>
      <Cmd case="BaseExtensions:show-hide-pp" show="True" ShapeNames="Internal"/>
      <Cmd case="BaseExtensions:show-hide-pp" show="False" ShapeNames="Confidential"/>
      <Cmd case="BaseExtensions:show-hide-pp" show="False" ShapeNames="Strictly"/>
      <Cmd case="BaseExtensions:show-hide-pp" show="False" ShapeNames="Public"/>
    </True>
  </Cmd>
  <Cmd case="BaseExtensions:If" if-1-type="documentprop" if-1-key="SecurityLevel" if-1-value="Confidential">
    <True>
      <Cmd case="BaseExtensions:show-hide-pp" show="False" ShapeNames="Internal"/>
      <Cmd case="BaseExtensions:show-hide-pp" show="True" ShapeNames="Confidential"/>
      <Cmd case="BaseExtensions:show-hide-pp" show="False" ShapeNames="Strictly"/>
      <Cmd case="BaseExtensions:show-hide-pp" show="False" ShapeNames="Public"/>
    </True>
  </Cmd>
  <Cmd case="BaseExtensions:If" if-1-type="documentprop" if-1-key="SecurityLevel" if-1-value="Strictly Confidential">
    <True>
      <Cmd case="BaseExtensions:show-hide-pp" show="False" ShapeNames="Internal"/>
      <Cmd case="BaseExtensions:show-hide-pp" show="False" ShapeNames="Confidential"/>
      <Cmd case="BaseExtensions:show-hide-pp" show="True" ShapeNames="Strictly"/>
      <Cmd case="BaseExtensions:show-hide-pp" show="False" ShapeNames="Public"/>
    </True>
  </Cmd>
  <Cmd case="BaseExtensions:If" if-1-type="documentprop" if-1-key="SecurityLevel" if-1-value="Public">
    <True>
      <Cmd case="BaseExtensions:show-hide-pp" show="False" ShapeNames="Internal"/>
      <Cmd case="BaseExtensions:show-hide-pp" show="False" ShapeNames="Confidential"/>
      <Cmd case="BaseExtensions:show-hide-pp" show="False" ShapeNames="Strictly"/>
      <Cmd case="BaseExtensions:show-hide-pp" show="True" ShapeNames="Public"/>
    </True>
  </Cmd>
  <Cmd case="BaseExtensions:If" if-1-type="docpropmap" if-1-key="TemplafyTenantId" if-1-value="+powergrids;+powergridsuat;+hitachienergy">
    <True>
      <Cmd case="BaseExtensions:find-shape-bring-to-front" layout-1-name="Cover Slide - Brighter Picture A" shape-1-name-1="Strictly" shape-1-name-2="Internal" shape-1-name-3="Public" shape-1-name-4="Confidential" layout-2-name="Cover Slide - Brighter Picture B" shape-2-name-1="Strictly" shape-2-name-2="Internal" shape-2-name-3="Public" shape-2-name-4="Confidential" layout-3-name="Cover Slide - Darker Picture A" shape-3-name-1="Strictly" shape-3-name-2="Internal" shape-3-name-3="Public" shape-3-name-4="Confidential" layout-4-name="Cover Slide - Darker Picture B" shape-4-name-1="Strictly" shape-4-name-2="Internal" shape-4-name-3="Public" shape-4-name-4="Confidential"/>
    </True>
  </Cmd>
</Update>
</file>

<file path=customXml/item7.xml><?xml version="1.0" encoding="utf-8"?>
<TemplafySlideFormConfiguration><![CDATA[{"formFields":[],"formDataEntries":[]}]]></TemplafySlideFormConfiguration>
</file>

<file path=customXml/item8.xml><?xml version="1.0" encoding="utf-8"?>
<TemplafySlideFormConfiguration><![CDATA[{"formFields":[],"formDataEntries":[]}]]></TemplafySlideFormConfiguration>
</file>

<file path=customXml/item9.xml><?xml version="1.0" encoding="utf-8"?>
<TemplafySlideFormConfiguration><![CDATA[{"formFields":[],"formDataEntries":[]}]]></TemplafySlideFormConfiguration>
</file>

<file path=customXml/itemProps1.xml><?xml version="1.0" encoding="utf-8"?>
<ds:datastoreItem xmlns:ds="http://schemas.openxmlformats.org/officeDocument/2006/customXml" ds:itemID="{D336302A-27B6-4C06-9199-1096D5322497}">
  <ds:schemaRefs>
    <ds:schemaRef ds:uri="http://schemas.microsoft.com/sharepoint/v3/contenttype/forms"/>
  </ds:schemaRefs>
</ds:datastoreItem>
</file>

<file path=customXml/itemProps10.xml><?xml version="1.0" encoding="utf-8"?>
<ds:datastoreItem xmlns:ds="http://schemas.openxmlformats.org/officeDocument/2006/customXml" ds:itemID="{E4538FCB-BC80-4C40-9CBE-B308AEC22B6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f2dec98-6728-4951-9a41-ba7d9f1f337c"/>
    <ds:schemaRef ds:uri="32390ee3-5230-4ced-8179-246355394c6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11.xml><?xml version="1.0" encoding="utf-8"?>
<ds:datastoreItem xmlns:ds="http://schemas.openxmlformats.org/officeDocument/2006/customXml" ds:itemID="{6163826A-1B1E-4EB8-BC14-6D4E247ADEB5}">
  <ds:schemaRefs/>
</ds:datastoreItem>
</file>

<file path=customXml/itemProps12.xml><?xml version="1.0" encoding="utf-8"?>
<ds:datastoreItem xmlns:ds="http://schemas.openxmlformats.org/officeDocument/2006/customXml" ds:itemID="{FFF36413-997B-40A4-B82C-3CE493449186}">
  <ds:schemaRefs/>
</ds:datastoreItem>
</file>

<file path=customXml/itemProps2.xml><?xml version="1.0" encoding="utf-8"?>
<ds:datastoreItem xmlns:ds="http://schemas.openxmlformats.org/officeDocument/2006/customXml" ds:itemID="{C3B1917D-47B1-43A1-8297-6F7C501762D5}">
  <ds:schemaRefs>
    <ds:schemaRef ds:uri="6f2dec98-6728-4951-9a41-ba7d9f1f337c"/>
    <ds:schemaRef ds:uri="http://purl.org/dc/dcmitype/"/>
    <ds:schemaRef ds:uri="http://schemas.microsoft.com/office/infopath/2007/PartnerControls"/>
    <ds:schemaRef ds:uri="http://purl.org/dc/elements/1.1/"/>
    <ds:schemaRef ds:uri="http://schemas.openxmlformats.org/package/2006/metadata/core-properties"/>
    <ds:schemaRef ds:uri="http://purl.org/dc/terms/"/>
    <ds:schemaRef ds:uri="http://www.w3.org/XML/1998/namespace"/>
    <ds:schemaRef ds:uri="32390ee3-5230-4ced-8179-246355394c64"/>
    <ds:schemaRef ds:uri="http://schemas.microsoft.com/office/2006/documentManagement/types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93A0269E-1E9A-4179-A446-AC6487E90BE1}">
  <ds:schemaRefs/>
</ds:datastoreItem>
</file>

<file path=customXml/itemProps4.xml><?xml version="1.0" encoding="utf-8"?>
<ds:datastoreItem xmlns:ds="http://schemas.openxmlformats.org/officeDocument/2006/customXml" ds:itemID="{2AF0C579-9E6B-413A-BC38-7C2249F3F7B0}">
  <ds:schemaRefs/>
</ds:datastoreItem>
</file>

<file path=customXml/itemProps5.xml><?xml version="1.0" encoding="utf-8"?>
<ds:datastoreItem xmlns:ds="http://schemas.openxmlformats.org/officeDocument/2006/customXml" ds:itemID="{7141768C-07B9-4DF7-9119-46CEB2C02A86}">
  <ds:schemaRefs/>
</ds:datastoreItem>
</file>

<file path=customXml/itemProps6.xml><?xml version="1.0" encoding="utf-8"?>
<ds:datastoreItem xmlns:ds="http://schemas.openxmlformats.org/officeDocument/2006/customXml" ds:itemID="{927D49E4-1080-409F-BE84-6246E2E10ECA}">
  <ds:schemaRefs/>
</ds:datastoreItem>
</file>

<file path=customXml/itemProps7.xml><?xml version="1.0" encoding="utf-8"?>
<ds:datastoreItem xmlns:ds="http://schemas.openxmlformats.org/officeDocument/2006/customXml" ds:itemID="{043B9CA7-DA61-453F-9645-77B472B5F5AA}">
  <ds:schemaRefs/>
</ds:datastoreItem>
</file>

<file path=customXml/itemProps8.xml><?xml version="1.0" encoding="utf-8"?>
<ds:datastoreItem xmlns:ds="http://schemas.openxmlformats.org/officeDocument/2006/customXml" ds:itemID="{C2F2A974-2646-4172-911D-CE43AC3B6DB3}">
  <ds:schemaRefs/>
</ds:datastoreItem>
</file>

<file path=customXml/itemProps9.xml><?xml version="1.0" encoding="utf-8"?>
<ds:datastoreItem xmlns:ds="http://schemas.openxmlformats.org/officeDocument/2006/customXml" ds:itemID="{4F192681-54ED-42BA-BFF9-9C8672B30729}">
  <ds:schemaRefs/>
</ds:datastoreItem>
</file>

<file path=docMetadata/LabelInfo.xml><?xml version="1.0" encoding="utf-8"?>
<clbl:labelList xmlns:clbl="http://schemas.microsoft.com/office/2020/mipLabelMetadata">
  <clbl:label id="{7831e6d9-dc6c-4cd1-9ec6-1dc2b4133195}" enabled="0" method="" siteId="{7831e6d9-dc6c-4cd1-9ec6-1dc2b4133195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JV Master Template_20200514</Template>
  <TotalTime>0</TotalTime>
  <Words>894</Words>
  <Application>Microsoft Office PowerPoint</Application>
  <PresentationFormat>Προσαρμογή</PresentationFormat>
  <Paragraphs>165</Paragraphs>
  <Slides>17</Slides>
  <Notes>8</Notes>
  <HiddenSlides>0</HiddenSlides>
  <MMClips>1</MMClips>
  <ScaleCrop>false</ScaleCrop>
  <HeadingPairs>
    <vt:vector size="6" baseType="variant">
      <vt:variant>
        <vt:lpstr>Θέμα</vt:lpstr>
      </vt:variant>
      <vt:variant>
        <vt:i4>1</vt:i4>
      </vt:variant>
      <vt:variant>
        <vt:lpstr>Ενσωματωμένοι διακομιστές OLE</vt:lpstr>
      </vt:variant>
      <vt:variant>
        <vt:i4>1</vt:i4>
      </vt:variant>
      <vt:variant>
        <vt:lpstr>Τίτλοι διαφανειών</vt:lpstr>
      </vt:variant>
      <vt:variant>
        <vt:i4>17</vt:i4>
      </vt:variant>
    </vt:vector>
  </HeadingPairs>
  <TitlesOfParts>
    <vt:vector size="19" baseType="lpstr">
      <vt:lpstr>Hitachi Energy</vt:lpstr>
      <vt:lpstr>think-cell Slide</vt:lpstr>
      <vt:lpstr>Challenges and solutions for increased RES integration</vt:lpstr>
      <vt:lpstr>Power grid infrastructure required for net zero roadmap</vt:lpstr>
      <vt:lpstr>Power electronics enabling carbon-neutral energy landscape</vt:lpstr>
      <vt:lpstr>There is a need for hybrid solutions – DC transmission &amp; Storage Both are essential to meet demand in a world of renewables</vt:lpstr>
      <vt:lpstr>Offshore wind connections</vt:lpstr>
      <vt:lpstr>Offshore wind connections</vt:lpstr>
      <vt:lpstr>HVDC becoming mainstream in all corners of the world Interconnecting Grids</vt:lpstr>
      <vt:lpstr>Meshed Offshore Grid – Driver / Needs</vt:lpstr>
      <vt:lpstr>Field-experiences with well defined standards</vt:lpstr>
      <vt:lpstr>North-East Agra</vt:lpstr>
      <vt:lpstr>NordLink</vt:lpstr>
      <vt:lpstr>NSL</vt:lpstr>
      <vt:lpstr>Saudi Arabia - Egypt</vt:lpstr>
      <vt:lpstr>Learning from Caithness-Moray project</vt:lpstr>
      <vt:lpstr>Caithness Moray Shetland HVDC Link - VIDEO</vt:lpstr>
      <vt:lpstr>Παρουσίαση του PowerPoint</vt:lpstr>
      <vt:lpstr>Παρουσίαση του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ultiterminal experiences</dc:title>
  <dc:subject>Examples from CMS project</dc:subject>
  <dc:creator/>
  <cp:lastModifiedBy/>
  <cp:revision>1</cp:revision>
  <dcterms:created xsi:type="dcterms:W3CDTF">2021-10-11T10:58:20Z</dcterms:created>
  <dcterms:modified xsi:type="dcterms:W3CDTF">2023-10-31T12:04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umentInfoFinished">
    <vt:lpwstr>True</vt:lpwstr>
  </property>
  <property fmtid="{D5CDD505-2E9C-101B-9397-08002B2CF9AE}" pid="3" name="TemplafyTimeStamp">
    <vt:lpwstr>2022-02-10T08:48:37.1754998</vt:lpwstr>
  </property>
  <property fmtid="{D5CDD505-2E9C-101B-9397-08002B2CF9AE}" pid="4" name="TemplafyTemplateId">
    <vt:lpwstr>637695481603974427</vt:lpwstr>
  </property>
  <property fmtid="{D5CDD505-2E9C-101B-9397-08002B2CF9AE}" pid="5" name="TemplafyUserProfileId">
    <vt:lpwstr>638171661639388589</vt:lpwstr>
  </property>
  <property fmtid="{D5CDD505-2E9C-101B-9397-08002B2CF9AE}" pid="6" name="TemplafyLanguageCode">
    <vt:lpwstr>en-US</vt:lpwstr>
  </property>
  <property fmtid="{D5CDD505-2E9C-101B-9397-08002B2CF9AE}" pid="7" name="SecurityLevel">
    <vt:lpwstr>Public</vt:lpwstr>
  </property>
  <property fmtid="{D5CDD505-2E9C-101B-9397-08002B2CF9AE}" pid="8" name="CreatorName">
    <vt:lpwstr>Sebastian Papapanagiotou</vt:lpwstr>
  </property>
  <property fmtid="{D5CDD505-2E9C-101B-9397-08002B2CF9AE}" pid="9" name="DocumentKind">
    <vt:lpwstr>Presentation</vt:lpwstr>
  </property>
  <property fmtid="{D5CDD505-2E9C-101B-9397-08002B2CF9AE}" pid="10" name="DocumentId">
    <vt:lpwstr/>
  </property>
  <property fmtid="{D5CDD505-2E9C-101B-9397-08002B2CF9AE}" pid="11" name="SupplementaryTitle">
    <vt:lpwstr>Examples from CMS project</vt:lpwstr>
  </property>
  <property fmtid="{D5CDD505-2E9C-101B-9397-08002B2CF9AE}" pid="12" name="DocumentTitle">
    <vt:lpwstr>Multiterminal experiences</vt:lpwstr>
  </property>
  <property fmtid="{D5CDD505-2E9C-101B-9397-08002B2CF9AE}" pid="13" name="CopyrightYear">
    <vt:lpwstr>2023</vt:lpwstr>
  </property>
  <property fmtid="{D5CDD505-2E9C-101B-9397-08002B2CF9AE}" pid="14" name="DocumentRevisionId">
    <vt:lpwstr>A</vt:lpwstr>
  </property>
  <property fmtid="{D5CDD505-2E9C-101B-9397-08002B2CF9AE}" pid="15" name="Date">
    <vt:lpwstr>2023-10-11</vt:lpwstr>
  </property>
  <property fmtid="{D5CDD505-2E9C-101B-9397-08002B2CF9AE}" pid="16" name="Eventanddate">
    <vt:lpwstr/>
  </property>
  <property fmtid="{D5CDD505-2E9C-101B-9397-08002B2CF9AE}" pid="17" name="PreparedByPerson">
    <vt:lpwstr>Sebastian Papapanagiotou</vt:lpwstr>
  </property>
  <property fmtid="{D5CDD505-2E9C-101B-9397-08002B2CF9AE}" pid="18" name="AdditionalInformation">
    <vt:lpwstr/>
  </property>
  <property fmtid="{D5CDD505-2E9C-101B-9397-08002B2CF9AE}" pid="19" name="TemplafyTenantId">
    <vt:lpwstr>hitachienergy</vt:lpwstr>
  </property>
  <property fmtid="{D5CDD505-2E9C-101B-9397-08002B2CF9AE}" pid="20" name="TemplafyFromBlank">
    <vt:bool>false</vt:bool>
  </property>
  <property fmtid="{D5CDD505-2E9C-101B-9397-08002B2CF9AE}" pid="21" name="ContentTypeId">
    <vt:lpwstr>0x010100EA239D8F810E2649A1753AC1D19E6DB3</vt:lpwstr>
  </property>
</Properties>
</file>